
<file path=[Content_Types].xml><?xml version="1.0" encoding="utf-8"?>
<Types xmlns="http://schemas.openxmlformats.org/package/2006/content-types">
  <Default Extension="bin" ContentType="application/vnd.openxmlformats-officedocument.oleObject"/>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media/image1.bin" ContentType="image/x-emf"/>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0" r:id="rId4"/>
  </p:sldMasterIdLst>
  <p:notesMasterIdLst>
    <p:notesMasterId r:id="rId6"/>
  </p:notesMasterIdLst>
  <p:handoutMasterIdLst>
    <p:handoutMasterId r:id="rId7"/>
  </p:handoutMasterIdLst>
  <p:sldIdLst>
    <p:sldId id="693" r:id="rId5"/>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28FF"/>
    <a:srgbClr val="FFD5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434F58-1023-4787-8705-48D7B685D1E9}" v="1" dt="2023-07-02T14:26:43.2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85" autoAdjust="0"/>
    <p:restoredTop sz="94434" autoAdjust="0"/>
  </p:normalViewPr>
  <p:slideViewPr>
    <p:cSldViewPr snapToGrid="0" showGuides="1">
      <p:cViewPr>
        <p:scale>
          <a:sx n="103" d="100"/>
          <a:sy n="103" d="100"/>
        </p:scale>
        <p:origin x="48" y="-348"/>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yrekar, Nikita" userId="81b7bcf0-b252-48e8-8b8e-b08ae8900a92" providerId="ADAL" clId="{47D62B39-EBFA-46FB-B1AE-67DD8F38B291}"/>
    <pc:docChg chg="undo redo custSel modSld">
      <pc:chgData name="Poyrekar, Nikita" userId="81b7bcf0-b252-48e8-8b8e-b08ae8900a92" providerId="ADAL" clId="{47D62B39-EBFA-46FB-B1AE-67DD8F38B291}" dt="2023-05-08T12:47:51.138" v="14"/>
      <pc:docMkLst>
        <pc:docMk/>
      </pc:docMkLst>
      <pc:sldChg chg="modSp mod">
        <pc:chgData name="Poyrekar, Nikita" userId="81b7bcf0-b252-48e8-8b8e-b08ae8900a92" providerId="ADAL" clId="{47D62B39-EBFA-46FB-B1AE-67DD8F38B291}" dt="2023-05-08T12:47:51.138" v="14"/>
        <pc:sldMkLst>
          <pc:docMk/>
          <pc:sldMk cId="2678710148" sldId="693"/>
        </pc:sldMkLst>
        <pc:spChg chg="mod">
          <ac:chgData name="Poyrekar, Nikita" userId="81b7bcf0-b252-48e8-8b8e-b08ae8900a92" providerId="ADAL" clId="{47D62B39-EBFA-46FB-B1AE-67DD8F38B291}" dt="2023-05-08T12:47:51.138" v="14"/>
          <ac:spMkLst>
            <pc:docMk/>
            <pc:sldMk cId="2678710148" sldId="693"/>
            <ac:spMk id="18" creationId="{00000000-0000-0000-0000-000000000000}"/>
          </ac:spMkLst>
        </pc:spChg>
      </pc:sldChg>
    </pc:docChg>
  </pc:docChgLst>
  <pc:docChgLst>
    <pc:chgData name="Poyrekar, Nikita" userId="81b7bcf0-b252-48e8-8b8e-b08ae8900a92" providerId="ADAL" clId="{8231B79E-2ECA-4A76-ACE1-9A10D7721F91}"/>
    <pc:docChg chg="undo custSel modSld">
      <pc:chgData name="Poyrekar, Nikita" userId="81b7bcf0-b252-48e8-8b8e-b08ae8900a92" providerId="ADAL" clId="{8231B79E-2ECA-4A76-ACE1-9A10D7721F91}" dt="2021-10-20T04:11:57.973" v="943" actId="20577"/>
      <pc:docMkLst>
        <pc:docMk/>
      </pc:docMkLst>
      <pc:sldChg chg="addSp delSp modSp mod">
        <pc:chgData name="Poyrekar, Nikita" userId="81b7bcf0-b252-48e8-8b8e-b08ae8900a92" providerId="ADAL" clId="{8231B79E-2ECA-4A76-ACE1-9A10D7721F91}" dt="2021-10-20T04:11:57.973" v="943" actId="20577"/>
        <pc:sldMkLst>
          <pc:docMk/>
          <pc:sldMk cId="2678710148" sldId="693"/>
        </pc:sldMkLst>
        <pc:spChg chg="mod">
          <ac:chgData name="Poyrekar, Nikita" userId="81b7bcf0-b252-48e8-8b8e-b08ae8900a92" providerId="ADAL" clId="{8231B79E-2ECA-4A76-ACE1-9A10D7721F91}" dt="2021-10-06T04:17:06.083" v="911" actId="1035"/>
          <ac:spMkLst>
            <pc:docMk/>
            <pc:sldMk cId="2678710148" sldId="693"/>
            <ac:spMk id="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4" creationId="{00000000-0000-0000-0000-000000000000}"/>
          </ac:spMkLst>
        </pc:spChg>
        <pc:spChg chg="add del mod">
          <ac:chgData name="Poyrekar, Nikita" userId="81b7bcf0-b252-48e8-8b8e-b08ae8900a92" providerId="ADAL" clId="{8231B79E-2ECA-4A76-ACE1-9A10D7721F91}" dt="2021-10-06T03:52:51.509" v="11"/>
          <ac:spMkLst>
            <pc:docMk/>
            <pc:sldMk cId="2678710148" sldId="693"/>
            <ac:spMk id="5" creationId="{26449525-C738-4584-9AE0-5B18985DD57E}"/>
          </ac:spMkLst>
        </pc:spChg>
        <pc:spChg chg="mod">
          <ac:chgData name="Poyrekar, Nikita" userId="81b7bcf0-b252-48e8-8b8e-b08ae8900a92" providerId="ADAL" clId="{8231B79E-2ECA-4A76-ACE1-9A10D7721F91}" dt="2021-10-06T04:20:04.883" v="926" actId="1036"/>
          <ac:spMkLst>
            <pc:docMk/>
            <pc:sldMk cId="2678710148" sldId="693"/>
            <ac:spMk id="1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4"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5" creationId="{00000000-0000-0000-0000-000000000000}"/>
          </ac:spMkLst>
        </pc:spChg>
        <pc:spChg chg="mod">
          <ac:chgData name="Poyrekar, Nikita" userId="81b7bcf0-b252-48e8-8b8e-b08ae8900a92" providerId="ADAL" clId="{8231B79E-2ECA-4A76-ACE1-9A10D7721F91}" dt="2021-10-20T04:11:25.076" v="936" actId="20577"/>
          <ac:spMkLst>
            <pc:docMk/>
            <pc:sldMk cId="2678710148" sldId="693"/>
            <ac:spMk id="16" creationId="{00000000-0000-0000-0000-000000000000}"/>
          </ac:spMkLst>
        </pc:spChg>
        <pc:spChg chg="mod">
          <ac:chgData name="Poyrekar, Nikita" userId="81b7bcf0-b252-48e8-8b8e-b08ae8900a92" providerId="ADAL" clId="{8231B79E-2ECA-4A76-ACE1-9A10D7721F91}" dt="2021-10-06T04:20:46.611" v="935" actId="1036"/>
          <ac:spMkLst>
            <pc:docMk/>
            <pc:sldMk cId="2678710148" sldId="693"/>
            <ac:spMk id="17" creationId="{00000000-0000-0000-0000-000000000000}"/>
          </ac:spMkLst>
        </pc:spChg>
        <pc:spChg chg="mod">
          <ac:chgData name="Poyrekar, Nikita" userId="81b7bcf0-b252-48e8-8b8e-b08ae8900a92" providerId="ADAL" clId="{8231B79E-2ECA-4A76-ACE1-9A10D7721F91}" dt="2021-10-20T04:11:57.973" v="943" actId="20577"/>
          <ac:spMkLst>
            <pc:docMk/>
            <pc:sldMk cId="2678710148" sldId="693"/>
            <ac:spMk id="18"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9" creationId="{842D9BA8-19C9-43FE-A664-761CAEC3AB0C}"/>
          </ac:spMkLst>
        </pc:spChg>
        <pc:spChg chg="mod">
          <ac:chgData name="Poyrekar, Nikita" userId="81b7bcf0-b252-48e8-8b8e-b08ae8900a92" providerId="ADAL" clId="{8231B79E-2ECA-4A76-ACE1-9A10D7721F91}" dt="2021-10-06T04:18:38.133" v="923" actId="1036"/>
          <ac:spMkLst>
            <pc:docMk/>
            <pc:sldMk cId="2678710148" sldId="693"/>
            <ac:spMk id="21" creationId="{00000000-0000-0000-0000-000000000000}"/>
          </ac:spMkLst>
        </pc:spChg>
        <pc:spChg chg="mod">
          <ac:chgData name="Poyrekar, Nikita" userId="81b7bcf0-b252-48e8-8b8e-b08ae8900a92" providerId="ADAL" clId="{8231B79E-2ECA-4A76-ACE1-9A10D7721F91}" dt="2021-10-06T04:15:37.154" v="865" actId="14100"/>
          <ac:spMkLst>
            <pc:docMk/>
            <pc:sldMk cId="2678710148" sldId="693"/>
            <ac:spMk id="2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57" creationId="{00000000-0000-0000-0000-000000000000}"/>
          </ac:spMkLst>
        </pc:spChg>
        <pc:picChg chg="add mod">
          <ac:chgData name="Poyrekar, Nikita" userId="81b7bcf0-b252-48e8-8b8e-b08ae8900a92" providerId="ADAL" clId="{8231B79E-2ECA-4A76-ACE1-9A10D7721F91}" dt="2021-10-06T04:00:46.557" v="367" actId="1036"/>
          <ac:picMkLst>
            <pc:docMk/>
            <pc:sldMk cId="2678710148" sldId="693"/>
            <ac:picMk id="7" creationId="{35B07E6F-2E6A-4E1C-B6B2-652F56E5B9B6}"/>
          </ac:picMkLst>
        </pc:picChg>
        <pc:picChg chg="del">
          <ac:chgData name="Poyrekar, Nikita" userId="81b7bcf0-b252-48e8-8b8e-b08ae8900a92" providerId="ADAL" clId="{8231B79E-2ECA-4A76-ACE1-9A10D7721F91}" dt="2021-10-06T03:52:51.039" v="10" actId="478"/>
          <ac:picMkLst>
            <pc:docMk/>
            <pc:sldMk cId="2678710148" sldId="693"/>
            <ac:picMk id="13" creationId="{14F18093-75EF-4237-ADDF-3FEDCD71AA44}"/>
          </ac:picMkLst>
        </pc:picChg>
      </pc:sldChg>
    </pc:docChg>
  </pc:docChgLst>
  <pc:docChgLst>
    <pc:chgData name="Poyrekar, Nikita" userId="81b7bcf0-b252-48e8-8b8e-b08ae8900a92" providerId="ADAL" clId="{9AB38727-7C06-4753-A8D4-BA671F8A58F9}"/>
    <pc:docChg chg="custSel modSld">
      <pc:chgData name="Poyrekar, Nikita" userId="81b7bcf0-b252-48e8-8b8e-b08ae8900a92" providerId="ADAL" clId="{9AB38727-7C06-4753-A8D4-BA671F8A58F9}" dt="2023-03-20T08:32:40.158" v="39" actId="20577"/>
      <pc:docMkLst>
        <pc:docMk/>
      </pc:docMkLst>
      <pc:sldChg chg="modSp mod">
        <pc:chgData name="Poyrekar, Nikita" userId="81b7bcf0-b252-48e8-8b8e-b08ae8900a92" providerId="ADAL" clId="{9AB38727-7C06-4753-A8D4-BA671F8A58F9}" dt="2023-03-20T08:32:40.158" v="39" actId="20577"/>
        <pc:sldMkLst>
          <pc:docMk/>
          <pc:sldMk cId="2678710148" sldId="693"/>
        </pc:sldMkLst>
        <pc:spChg chg="mod">
          <ac:chgData name="Poyrekar, Nikita" userId="81b7bcf0-b252-48e8-8b8e-b08ae8900a92" providerId="ADAL" clId="{9AB38727-7C06-4753-A8D4-BA671F8A58F9}" dt="2023-03-20T08:32:40.158" v="39" actId="20577"/>
          <ac:spMkLst>
            <pc:docMk/>
            <pc:sldMk cId="2678710148" sldId="693"/>
            <ac:spMk id="16" creationId="{00000000-0000-0000-0000-000000000000}"/>
          </ac:spMkLst>
        </pc:spChg>
      </pc:sldChg>
    </pc:docChg>
  </pc:docChgLst>
  <pc:docChgLst>
    <pc:chgData name="Poyrekar, Nikita" userId="81b7bcf0-b252-48e8-8b8e-b08ae8900a92" providerId="ADAL" clId="{5FDCE233-393A-4EAF-87EB-9433227E047F}"/>
    <pc:docChg chg="modSld">
      <pc:chgData name="Poyrekar, Nikita" userId="81b7bcf0-b252-48e8-8b8e-b08ae8900a92" providerId="ADAL" clId="{5FDCE233-393A-4EAF-87EB-9433227E047F}" dt="2022-02-23T15:10:26.043" v="316" actId="20577"/>
      <pc:docMkLst>
        <pc:docMk/>
      </pc:docMkLst>
      <pc:sldChg chg="modSp mod">
        <pc:chgData name="Poyrekar, Nikita" userId="81b7bcf0-b252-48e8-8b8e-b08ae8900a92" providerId="ADAL" clId="{5FDCE233-393A-4EAF-87EB-9433227E047F}" dt="2022-02-23T15:10:26.043" v="316" actId="20577"/>
        <pc:sldMkLst>
          <pc:docMk/>
          <pc:sldMk cId="2678710148" sldId="693"/>
        </pc:sldMkLst>
        <pc:spChg chg="mod">
          <ac:chgData name="Poyrekar, Nikita" userId="81b7bcf0-b252-48e8-8b8e-b08ae8900a92" providerId="ADAL" clId="{5FDCE233-393A-4EAF-87EB-9433227E047F}" dt="2022-01-24T06:01:10.090" v="18" actId="20577"/>
          <ac:spMkLst>
            <pc:docMk/>
            <pc:sldMk cId="2678710148" sldId="693"/>
            <ac:spMk id="2" creationId="{00000000-0000-0000-0000-000000000000}"/>
          </ac:spMkLst>
        </pc:spChg>
        <pc:spChg chg="mod">
          <ac:chgData name="Poyrekar, Nikita" userId="81b7bcf0-b252-48e8-8b8e-b08ae8900a92" providerId="ADAL" clId="{5FDCE233-393A-4EAF-87EB-9433227E047F}" dt="2022-02-23T15:10:26.043" v="316" actId="20577"/>
          <ac:spMkLst>
            <pc:docMk/>
            <pc:sldMk cId="2678710148" sldId="693"/>
            <ac:spMk id="16" creationId="{00000000-0000-0000-0000-000000000000}"/>
          </ac:spMkLst>
        </pc:spChg>
        <pc:spChg chg="mod">
          <ac:chgData name="Poyrekar, Nikita" userId="81b7bcf0-b252-48e8-8b8e-b08ae8900a92" providerId="ADAL" clId="{5FDCE233-393A-4EAF-87EB-9433227E047F}" dt="2022-01-24T06:05:53.315" v="287" actId="1036"/>
          <ac:spMkLst>
            <pc:docMk/>
            <pc:sldMk cId="2678710148" sldId="693"/>
            <ac:spMk id="17" creationId="{00000000-0000-0000-0000-000000000000}"/>
          </ac:spMkLst>
        </pc:spChg>
        <pc:spChg chg="mod">
          <ac:chgData name="Poyrekar, Nikita" userId="81b7bcf0-b252-48e8-8b8e-b08ae8900a92" providerId="ADAL" clId="{5FDCE233-393A-4EAF-87EB-9433227E047F}" dt="2022-01-24T06:05:50.571" v="282" actId="1036"/>
          <ac:spMkLst>
            <pc:docMk/>
            <pc:sldMk cId="2678710148" sldId="693"/>
            <ac:spMk id="18" creationId="{00000000-0000-0000-0000-000000000000}"/>
          </ac:spMkLst>
        </pc:spChg>
        <pc:spChg chg="mod">
          <ac:chgData name="Poyrekar, Nikita" userId="81b7bcf0-b252-48e8-8b8e-b08ae8900a92" providerId="ADAL" clId="{5FDCE233-393A-4EAF-87EB-9433227E047F}" dt="2022-01-24T06:06:04.074" v="301" actId="1036"/>
          <ac:spMkLst>
            <pc:docMk/>
            <pc:sldMk cId="2678710148" sldId="693"/>
            <ac:spMk id="21" creationId="{00000000-0000-0000-0000-000000000000}"/>
          </ac:spMkLst>
        </pc:spChg>
      </pc:sldChg>
    </pc:docChg>
  </pc:docChgLst>
  <pc:docChgLst>
    <pc:chgData name="Poyrekar, Nikita" userId="81b7bcf0-b252-48e8-8b8e-b08ae8900a92" providerId="ADAL" clId="{CA4905BA-685C-485B-86B6-157A08AF9634}"/>
    <pc:docChg chg="undo custSel modSld">
      <pc:chgData name="Poyrekar, Nikita" userId="81b7bcf0-b252-48e8-8b8e-b08ae8900a92" providerId="ADAL" clId="{CA4905BA-685C-485B-86B6-157A08AF9634}" dt="2023-04-18T07:10:44.884" v="75" actId="1076"/>
      <pc:docMkLst>
        <pc:docMk/>
      </pc:docMkLst>
      <pc:sldChg chg="addSp delSp modSp mod">
        <pc:chgData name="Poyrekar, Nikita" userId="81b7bcf0-b252-48e8-8b8e-b08ae8900a92" providerId="ADAL" clId="{CA4905BA-685C-485B-86B6-157A08AF9634}" dt="2023-04-18T07:10:44.884" v="75" actId="1076"/>
        <pc:sldMkLst>
          <pc:docMk/>
          <pc:sldMk cId="2678710148" sldId="693"/>
        </pc:sldMkLst>
        <pc:spChg chg="add del mod">
          <ac:chgData name="Poyrekar, Nikita" userId="81b7bcf0-b252-48e8-8b8e-b08ae8900a92" providerId="ADAL" clId="{CA4905BA-685C-485B-86B6-157A08AF9634}" dt="2023-04-18T07:08:18.108" v="2"/>
          <ac:spMkLst>
            <pc:docMk/>
            <pc:sldMk cId="2678710148" sldId="693"/>
            <ac:spMk id="3" creationId="{54378A4D-FE72-4B28-9208-0B0CF3A210EA}"/>
          </ac:spMkLst>
        </pc:spChg>
        <pc:spChg chg="mod">
          <ac:chgData name="Poyrekar, Nikita" userId="81b7bcf0-b252-48e8-8b8e-b08ae8900a92" providerId="ADAL" clId="{CA4905BA-685C-485B-86B6-157A08AF9634}" dt="2023-04-18T07:10:44.884" v="75" actId="1076"/>
          <ac:spMkLst>
            <pc:docMk/>
            <pc:sldMk cId="2678710148" sldId="693"/>
            <ac:spMk id="12" creationId="{00000000-0000-0000-0000-000000000000}"/>
          </ac:spMkLst>
        </pc:spChg>
        <pc:spChg chg="mod">
          <ac:chgData name="Poyrekar, Nikita" userId="81b7bcf0-b252-48e8-8b8e-b08ae8900a92" providerId="ADAL" clId="{CA4905BA-685C-485B-86B6-157A08AF9634}" dt="2023-04-18T07:06:14.865" v="0" actId="20577"/>
          <ac:spMkLst>
            <pc:docMk/>
            <pc:sldMk cId="2678710148" sldId="693"/>
            <ac:spMk id="16" creationId="{00000000-0000-0000-0000-000000000000}"/>
          </ac:spMkLst>
        </pc:spChg>
        <pc:picChg chg="add mod modCrop">
          <ac:chgData name="Poyrekar, Nikita" userId="81b7bcf0-b252-48e8-8b8e-b08ae8900a92" providerId="ADAL" clId="{CA4905BA-685C-485B-86B6-157A08AF9634}" dt="2023-04-18T07:09:19.373" v="74" actId="14100"/>
          <ac:picMkLst>
            <pc:docMk/>
            <pc:sldMk cId="2678710148" sldId="693"/>
            <ac:picMk id="6" creationId="{67B3EB1F-2821-412E-88DA-0648A3498C0B}"/>
          </ac:picMkLst>
        </pc:picChg>
        <pc:picChg chg="del">
          <ac:chgData name="Poyrekar, Nikita" userId="81b7bcf0-b252-48e8-8b8e-b08ae8900a92" providerId="ADAL" clId="{CA4905BA-685C-485B-86B6-157A08AF9634}" dt="2023-04-18T07:08:16.619" v="1" actId="478"/>
          <ac:picMkLst>
            <pc:docMk/>
            <pc:sldMk cId="2678710148" sldId="693"/>
            <ac:picMk id="7" creationId="{35B07E6F-2E6A-4E1C-B6B2-652F56E5B9B6}"/>
          </ac:picMkLst>
        </pc:picChg>
      </pc:sldChg>
    </pc:docChg>
  </pc:docChgLst>
  <pc:docChgLst>
    <pc:chgData name="Poyrekar, Nikita" userId="81b7bcf0-b252-48e8-8b8e-b08ae8900a92" providerId="ADAL" clId="{811F5F60-36F3-49FD-AFD1-C2D4181F54F0}"/>
    <pc:docChg chg="undo redo custSel modSld">
      <pc:chgData name="Poyrekar, Nikita" userId="81b7bcf0-b252-48e8-8b8e-b08ae8900a92" providerId="ADAL" clId="{811F5F60-36F3-49FD-AFD1-C2D4181F54F0}" dt="2022-12-18T07:37:01.160" v="2155" actId="207"/>
      <pc:docMkLst>
        <pc:docMk/>
      </pc:docMkLst>
      <pc:sldChg chg="addSp delSp modSp mod modTransition">
        <pc:chgData name="Poyrekar, Nikita" userId="81b7bcf0-b252-48e8-8b8e-b08ae8900a92" providerId="ADAL" clId="{811F5F60-36F3-49FD-AFD1-C2D4181F54F0}" dt="2022-12-18T07:37:01.160" v="2155" actId="207"/>
        <pc:sldMkLst>
          <pc:docMk/>
          <pc:sldMk cId="2678710148" sldId="693"/>
        </pc:sldMkLst>
        <pc:spChg chg="add del">
          <ac:chgData name="Poyrekar, Nikita" userId="81b7bcf0-b252-48e8-8b8e-b08ae8900a92" providerId="ADAL" clId="{811F5F60-36F3-49FD-AFD1-C2D4181F54F0}" dt="2022-12-18T07:33:50.582" v="2064" actId="478"/>
          <ac:spMkLst>
            <pc:docMk/>
            <pc:sldMk cId="2678710148" sldId="693"/>
            <ac:spMk id="2" creationId="{19BDAF84-9D28-47A6-9A5B-1550A4EDF0DC}"/>
          </ac:spMkLst>
        </pc:spChg>
        <pc:spChg chg="del mod">
          <ac:chgData name="Poyrekar, Nikita" userId="81b7bcf0-b252-48e8-8b8e-b08ae8900a92" providerId="ADAL" clId="{811F5F60-36F3-49FD-AFD1-C2D4181F54F0}" dt="2022-12-18T07:25:15.087" v="1661" actId="478"/>
          <ac:spMkLst>
            <pc:docMk/>
            <pc:sldMk cId="2678710148" sldId="693"/>
            <ac:spMk id="4" creationId="{00000000-0000-0000-0000-000000000000}"/>
          </ac:spMkLst>
        </pc:spChg>
        <pc:spChg chg="mod ord">
          <ac:chgData name="Poyrekar, Nikita" userId="81b7bcf0-b252-48e8-8b8e-b08ae8900a92" providerId="ADAL" clId="{811F5F60-36F3-49FD-AFD1-C2D4181F54F0}" dt="2022-12-18T07:37:01.160" v="2155" actId="207"/>
          <ac:spMkLst>
            <pc:docMk/>
            <pc:sldMk cId="2678710148" sldId="693"/>
            <ac:spMk id="12" creationId="{00000000-0000-0000-0000-000000000000}"/>
          </ac:spMkLst>
        </pc:spChg>
        <pc:spChg chg="mod">
          <ac:chgData name="Poyrekar, Nikita" userId="81b7bcf0-b252-48e8-8b8e-b08ae8900a92" providerId="ADAL" clId="{811F5F60-36F3-49FD-AFD1-C2D4181F54F0}" dt="2022-12-18T07:34:02.886" v="2065" actId="1076"/>
          <ac:spMkLst>
            <pc:docMk/>
            <pc:sldMk cId="2678710148" sldId="693"/>
            <ac:spMk id="14" creationId="{00000000-0000-0000-0000-000000000000}"/>
          </ac:spMkLst>
        </pc:spChg>
        <pc:spChg chg="mod">
          <ac:chgData name="Poyrekar, Nikita" userId="81b7bcf0-b252-48e8-8b8e-b08ae8900a92" providerId="ADAL" clId="{811F5F60-36F3-49FD-AFD1-C2D4181F54F0}" dt="2022-12-18T07:03:28.172" v="1626" actId="1076"/>
          <ac:spMkLst>
            <pc:docMk/>
            <pc:sldMk cId="2678710148" sldId="693"/>
            <ac:spMk id="15" creationId="{00000000-0000-0000-0000-000000000000}"/>
          </ac:spMkLst>
        </pc:spChg>
        <pc:spChg chg="mod">
          <ac:chgData name="Poyrekar, Nikita" userId="81b7bcf0-b252-48e8-8b8e-b08ae8900a92" providerId="ADAL" clId="{811F5F60-36F3-49FD-AFD1-C2D4181F54F0}" dt="2022-12-18T07:35:50.397" v="2139" actId="14100"/>
          <ac:spMkLst>
            <pc:docMk/>
            <pc:sldMk cId="2678710148" sldId="693"/>
            <ac:spMk id="16" creationId="{00000000-0000-0000-0000-000000000000}"/>
          </ac:spMkLst>
        </pc:spChg>
        <pc:spChg chg="mod">
          <ac:chgData name="Poyrekar, Nikita" userId="81b7bcf0-b252-48e8-8b8e-b08ae8900a92" providerId="ADAL" clId="{811F5F60-36F3-49FD-AFD1-C2D4181F54F0}" dt="2022-12-18T07:33:38.537" v="2063" actId="207"/>
          <ac:spMkLst>
            <pc:docMk/>
            <pc:sldMk cId="2678710148" sldId="693"/>
            <ac:spMk id="17" creationId="{00000000-0000-0000-0000-000000000000}"/>
          </ac:spMkLst>
        </pc:spChg>
        <pc:spChg chg="mod">
          <ac:chgData name="Poyrekar, Nikita" userId="81b7bcf0-b252-48e8-8b8e-b08ae8900a92" providerId="ADAL" clId="{811F5F60-36F3-49FD-AFD1-C2D4181F54F0}" dt="2022-12-18T07:29:44.640" v="2057" actId="962"/>
          <ac:spMkLst>
            <pc:docMk/>
            <pc:sldMk cId="2678710148" sldId="693"/>
            <ac:spMk id="18" creationId="{00000000-0000-0000-0000-000000000000}"/>
          </ac:spMkLst>
        </pc:spChg>
        <pc:spChg chg="del mod">
          <ac:chgData name="Poyrekar, Nikita" userId="81b7bcf0-b252-48e8-8b8e-b08ae8900a92" providerId="ADAL" clId="{811F5F60-36F3-49FD-AFD1-C2D4181F54F0}" dt="2022-12-18T06:46:30.501" v="1217" actId="478"/>
          <ac:spMkLst>
            <pc:docMk/>
            <pc:sldMk cId="2678710148" sldId="693"/>
            <ac:spMk id="19" creationId="{842D9BA8-19C9-43FE-A664-761CAEC3AB0C}"/>
          </ac:spMkLst>
        </pc:spChg>
        <pc:spChg chg="mod ord">
          <ac:chgData name="Poyrekar, Nikita" userId="81b7bcf0-b252-48e8-8b8e-b08ae8900a92" providerId="ADAL" clId="{811F5F60-36F3-49FD-AFD1-C2D4181F54F0}" dt="2022-12-18T07:33:27.778" v="2061" actId="207"/>
          <ac:spMkLst>
            <pc:docMk/>
            <pc:sldMk cId="2678710148" sldId="693"/>
            <ac:spMk id="20" creationId="{DE521BAC-1841-4C04-8B3B-7E19F9B4CDB7}"/>
          </ac:spMkLst>
        </pc:spChg>
        <pc:spChg chg="mod ord">
          <ac:chgData name="Poyrekar, Nikita" userId="81b7bcf0-b252-48e8-8b8e-b08ae8900a92" providerId="ADAL" clId="{811F5F60-36F3-49FD-AFD1-C2D4181F54F0}" dt="2022-12-18T07:35:11.566" v="2138" actId="962"/>
          <ac:spMkLst>
            <pc:docMk/>
            <pc:sldMk cId="2678710148" sldId="693"/>
            <ac:spMk id="21" creationId="{00000000-0000-0000-0000-000000000000}"/>
          </ac:spMkLst>
        </pc:spChg>
        <pc:spChg chg="mod ord">
          <ac:chgData name="Poyrekar, Nikita" userId="81b7bcf0-b252-48e8-8b8e-b08ae8900a92" providerId="ADAL" clId="{811F5F60-36F3-49FD-AFD1-C2D4181F54F0}" dt="2022-12-18T07:33:21.942" v="2060" actId="207"/>
          <ac:spMkLst>
            <pc:docMk/>
            <pc:sldMk cId="2678710148" sldId="693"/>
            <ac:spMk id="22" creationId="{00000000-0000-0000-0000-000000000000}"/>
          </ac:spMkLst>
        </pc:spChg>
        <pc:spChg chg="mod ord">
          <ac:chgData name="Poyrekar, Nikita" userId="81b7bcf0-b252-48e8-8b8e-b08ae8900a92" providerId="ADAL" clId="{811F5F60-36F3-49FD-AFD1-C2D4181F54F0}" dt="2022-12-18T07:28:14.279" v="1795" actId="13244"/>
          <ac:spMkLst>
            <pc:docMk/>
            <pc:sldMk cId="2678710148" sldId="693"/>
            <ac:spMk id="23" creationId="{08096783-34E3-4E02-BA98-B7B2C5196BA0}"/>
          </ac:spMkLst>
        </pc:spChg>
        <pc:spChg chg="mod ord">
          <ac:chgData name="Poyrekar, Nikita" userId="81b7bcf0-b252-48e8-8b8e-b08ae8900a92" providerId="ADAL" clId="{811F5F60-36F3-49FD-AFD1-C2D4181F54F0}" dt="2022-12-18T07:27:48.734" v="1792" actId="13244"/>
          <ac:spMkLst>
            <pc:docMk/>
            <pc:sldMk cId="2678710148" sldId="693"/>
            <ac:spMk id="24" creationId="{F39E461E-E2E9-42E7-8E0E-712DB5335C27}"/>
          </ac:spMkLst>
        </pc:spChg>
        <pc:spChg chg="add del mod">
          <ac:chgData name="Poyrekar, Nikita" userId="81b7bcf0-b252-48e8-8b8e-b08ae8900a92" providerId="ADAL" clId="{811F5F60-36F3-49FD-AFD1-C2D4181F54F0}" dt="2022-12-18T06:49:32.153" v="1295" actId="478"/>
          <ac:spMkLst>
            <pc:docMk/>
            <pc:sldMk cId="2678710148" sldId="693"/>
            <ac:spMk id="25" creationId="{8CE8B138-4053-44B8-AE3A-05BB341548CE}"/>
          </ac:spMkLst>
        </pc:spChg>
        <pc:spChg chg="add del mod">
          <ac:chgData name="Poyrekar, Nikita" userId="81b7bcf0-b252-48e8-8b8e-b08ae8900a92" providerId="ADAL" clId="{811F5F60-36F3-49FD-AFD1-C2D4181F54F0}" dt="2022-12-18T06:49:30.609" v="1294" actId="478"/>
          <ac:spMkLst>
            <pc:docMk/>
            <pc:sldMk cId="2678710148" sldId="693"/>
            <ac:spMk id="26" creationId="{870FA8E4-0D09-495F-86A5-810D68397846}"/>
          </ac:spMkLst>
        </pc:spChg>
        <pc:spChg chg="add mod ord">
          <ac:chgData name="Poyrekar, Nikita" userId="81b7bcf0-b252-48e8-8b8e-b08ae8900a92" providerId="ADAL" clId="{811F5F60-36F3-49FD-AFD1-C2D4181F54F0}" dt="2022-12-18T07:27:41.631" v="1791" actId="13244"/>
          <ac:spMkLst>
            <pc:docMk/>
            <pc:sldMk cId="2678710148" sldId="693"/>
            <ac:spMk id="28" creationId="{8C622EED-B644-481D-8267-6144F79A0584}"/>
          </ac:spMkLst>
        </pc:spChg>
        <pc:picChg chg="mod ord">
          <ac:chgData name="Poyrekar, Nikita" userId="81b7bcf0-b252-48e8-8b8e-b08ae8900a92" providerId="ADAL" clId="{811F5F60-36F3-49FD-AFD1-C2D4181F54F0}" dt="2022-12-18T07:28:39.159" v="1797" actId="962"/>
          <ac:picMkLst>
            <pc:docMk/>
            <pc:sldMk cId="2678710148" sldId="693"/>
            <ac:picMk id="5" creationId="{DE76CACD-52CD-4454-AAE1-B4A1C7597BD3}"/>
          </ac:picMkLst>
        </pc:picChg>
        <pc:picChg chg="mod ord">
          <ac:chgData name="Poyrekar, Nikita" userId="81b7bcf0-b252-48e8-8b8e-b08ae8900a92" providerId="ADAL" clId="{811F5F60-36F3-49FD-AFD1-C2D4181F54F0}" dt="2022-12-18T07:28:08.956" v="1794" actId="13244"/>
          <ac:picMkLst>
            <pc:docMk/>
            <pc:sldMk cId="2678710148" sldId="693"/>
            <ac:picMk id="7" creationId="{35B07E6F-2E6A-4E1C-B6B2-652F56E5B9B6}"/>
          </ac:picMkLst>
        </pc:picChg>
        <pc:picChg chg="add del mod">
          <ac:chgData name="Poyrekar, Nikita" userId="81b7bcf0-b252-48e8-8b8e-b08ae8900a92" providerId="ADAL" clId="{811F5F60-36F3-49FD-AFD1-C2D4181F54F0}" dt="2022-12-18T06:49:27.062" v="1293" actId="478"/>
          <ac:picMkLst>
            <pc:docMk/>
            <pc:sldMk cId="2678710148" sldId="693"/>
            <ac:picMk id="27" creationId="{1F247AD9-DF04-4B34-BCF5-7B5B60243309}"/>
          </ac:picMkLst>
        </pc:picChg>
      </pc:sldChg>
    </pc:docChg>
  </pc:docChgLst>
  <pc:docChgLst>
    <pc:chgData name="Poyrekar, Nikita" userId="81b7bcf0-b252-48e8-8b8e-b08ae8900a92" providerId="ADAL" clId="{88332AA9-C8C3-4F42-BF74-2A5B661B2A53}"/>
    <pc:docChg chg="undo custSel modSld modMainMaster">
      <pc:chgData name="Poyrekar, Nikita" userId="81b7bcf0-b252-48e8-8b8e-b08ae8900a92" providerId="ADAL" clId="{88332AA9-C8C3-4F42-BF74-2A5B661B2A53}" dt="2022-10-25T11:00:07.123" v="1051" actId="20577"/>
      <pc:docMkLst>
        <pc:docMk/>
      </pc:docMkLst>
      <pc:sldChg chg="addSp delSp modSp mod modTransition">
        <pc:chgData name="Poyrekar, Nikita" userId="81b7bcf0-b252-48e8-8b8e-b08ae8900a92" providerId="ADAL" clId="{88332AA9-C8C3-4F42-BF74-2A5B661B2A53}" dt="2022-10-25T11:00:07.123" v="1051" actId="20577"/>
        <pc:sldMkLst>
          <pc:docMk/>
          <pc:sldMk cId="2678710148" sldId="693"/>
        </pc:sldMkLst>
        <pc:spChg chg="del mod">
          <ac:chgData name="Poyrekar, Nikita" userId="81b7bcf0-b252-48e8-8b8e-b08ae8900a92" providerId="ADAL" clId="{88332AA9-C8C3-4F42-BF74-2A5B661B2A53}" dt="2022-10-25T05:37:55.161" v="473" actId="478"/>
          <ac:spMkLst>
            <pc:docMk/>
            <pc:sldMk cId="2678710148" sldId="693"/>
            <ac:spMk id="2" creationId="{00000000-0000-0000-0000-000000000000}"/>
          </ac:spMkLst>
        </pc:spChg>
        <pc:spChg chg="mod">
          <ac:chgData name="Poyrekar, Nikita" userId="81b7bcf0-b252-48e8-8b8e-b08ae8900a92" providerId="ADAL" clId="{88332AA9-C8C3-4F42-BF74-2A5B661B2A53}" dt="2022-10-25T10:52:49.280" v="949" actId="122"/>
          <ac:spMkLst>
            <pc:docMk/>
            <pc:sldMk cId="2678710148" sldId="693"/>
            <ac:spMk id="12" creationId="{00000000-0000-0000-0000-000000000000}"/>
          </ac:spMkLst>
        </pc:spChg>
        <pc:spChg chg="mod">
          <ac:chgData name="Poyrekar, Nikita" userId="81b7bcf0-b252-48e8-8b8e-b08ae8900a92" providerId="ADAL" clId="{88332AA9-C8C3-4F42-BF74-2A5B661B2A53}" dt="2022-10-25T10:52:20.547" v="929" actId="1035"/>
          <ac:spMkLst>
            <pc:docMk/>
            <pc:sldMk cId="2678710148" sldId="693"/>
            <ac:spMk id="14" creationId="{00000000-0000-0000-0000-000000000000}"/>
          </ac:spMkLst>
        </pc:spChg>
        <pc:spChg chg="mod">
          <ac:chgData name="Poyrekar, Nikita" userId="81b7bcf0-b252-48e8-8b8e-b08ae8900a92" providerId="ADAL" clId="{88332AA9-C8C3-4F42-BF74-2A5B661B2A53}" dt="2022-10-25T10:53:39.905" v="959" actId="113"/>
          <ac:spMkLst>
            <pc:docMk/>
            <pc:sldMk cId="2678710148" sldId="693"/>
            <ac:spMk id="15" creationId="{00000000-0000-0000-0000-000000000000}"/>
          </ac:spMkLst>
        </pc:spChg>
        <pc:spChg chg="mod">
          <ac:chgData name="Poyrekar, Nikita" userId="81b7bcf0-b252-48e8-8b8e-b08ae8900a92" providerId="ADAL" clId="{88332AA9-C8C3-4F42-BF74-2A5B661B2A53}" dt="2022-10-25T10:58:41.891" v="1020" actId="1035"/>
          <ac:spMkLst>
            <pc:docMk/>
            <pc:sldMk cId="2678710148" sldId="693"/>
            <ac:spMk id="16" creationId="{00000000-0000-0000-0000-000000000000}"/>
          </ac:spMkLst>
        </pc:spChg>
        <pc:spChg chg="mod">
          <ac:chgData name="Poyrekar, Nikita" userId="81b7bcf0-b252-48e8-8b8e-b08ae8900a92" providerId="ADAL" clId="{88332AA9-C8C3-4F42-BF74-2A5B661B2A53}" dt="2022-10-25T10:58:32.546" v="1004" actId="1036"/>
          <ac:spMkLst>
            <pc:docMk/>
            <pc:sldMk cId="2678710148" sldId="693"/>
            <ac:spMk id="17" creationId="{00000000-0000-0000-0000-000000000000}"/>
          </ac:spMkLst>
        </pc:spChg>
        <pc:spChg chg="mod">
          <ac:chgData name="Poyrekar, Nikita" userId="81b7bcf0-b252-48e8-8b8e-b08ae8900a92" providerId="ADAL" clId="{88332AA9-C8C3-4F42-BF74-2A5B661B2A53}" dt="2022-10-25T10:58:28.288" v="993" actId="1036"/>
          <ac:spMkLst>
            <pc:docMk/>
            <pc:sldMk cId="2678710148" sldId="693"/>
            <ac:spMk id="18" creationId="{00000000-0000-0000-0000-000000000000}"/>
          </ac:spMkLst>
        </pc:spChg>
        <pc:spChg chg="add mod">
          <ac:chgData name="Poyrekar, Nikita" userId="81b7bcf0-b252-48e8-8b8e-b08ae8900a92" providerId="ADAL" clId="{88332AA9-C8C3-4F42-BF74-2A5B661B2A53}" dt="2022-10-25T10:51:37.185" v="847" actId="1036"/>
          <ac:spMkLst>
            <pc:docMk/>
            <pc:sldMk cId="2678710148" sldId="693"/>
            <ac:spMk id="20" creationId="{DE521BAC-1841-4C04-8B3B-7E19F9B4CDB7}"/>
          </ac:spMkLst>
        </pc:spChg>
        <pc:spChg chg="mod">
          <ac:chgData name="Poyrekar, Nikita" userId="81b7bcf0-b252-48e8-8b8e-b08ae8900a92" providerId="ADAL" clId="{88332AA9-C8C3-4F42-BF74-2A5B661B2A53}" dt="2022-10-25T10:58:53.989" v="1031" actId="1036"/>
          <ac:spMkLst>
            <pc:docMk/>
            <pc:sldMk cId="2678710148" sldId="693"/>
            <ac:spMk id="21" creationId="{00000000-0000-0000-0000-000000000000}"/>
          </ac:spMkLst>
        </pc:spChg>
        <pc:spChg chg="mod">
          <ac:chgData name="Poyrekar, Nikita" userId="81b7bcf0-b252-48e8-8b8e-b08ae8900a92" providerId="ADAL" clId="{88332AA9-C8C3-4F42-BF74-2A5B661B2A53}" dt="2022-10-25T10:51:56.710" v="885" actId="1035"/>
          <ac:spMkLst>
            <pc:docMk/>
            <pc:sldMk cId="2678710148" sldId="693"/>
            <ac:spMk id="22" creationId="{00000000-0000-0000-0000-000000000000}"/>
          </ac:spMkLst>
        </pc:spChg>
        <pc:spChg chg="add mod">
          <ac:chgData name="Poyrekar, Nikita" userId="81b7bcf0-b252-48e8-8b8e-b08ae8900a92" providerId="ADAL" clId="{88332AA9-C8C3-4F42-BF74-2A5B661B2A53}" dt="2022-10-25T10:53:06.005" v="951" actId="122"/>
          <ac:spMkLst>
            <pc:docMk/>
            <pc:sldMk cId="2678710148" sldId="693"/>
            <ac:spMk id="23" creationId="{08096783-34E3-4E02-BA98-B7B2C5196BA0}"/>
          </ac:spMkLst>
        </pc:spChg>
        <pc:spChg chg="add mod">
          <ac:chgData name="Poyrekar, Nikita" userId="81b7bcf0-b252-48e8-8b8e-b08ae8900a92" providerId="ADAL" clId="{88332AA9-C8C3-4F42-BF74-2A5B661B2A53}" dt="2022-10-25T10:53:20.750" v="954" actId="120"/>
          <ac:spMkLst>
            <pc:docMk/>
            <pc:sldMk cId="2678710148" sldId="693"/>
            <ac:spMk id="24" creationId="{F39E461E-E2E9-42E7-8E0E-712DB5335C27}"/>
          </ac:spMkLst>
        </pc:spChg>
        <pc:spChg chg="mod">
          <ac:chgData name="Poyrekar, Nikita" userId="81b7bcf0-b252-48e8-8b8e-b08ae8900a92" providerId="ADAL" clId="{88332AA9-C8C3-4F42-BF74-2A5B661B2A53}" dt="2022-10-25T11:00:07.123" v="1051" actId="20577"/>
          <ac:spMkLst>
            <pc:docMk/>
            <pc:sldMk cId="2678710148" sldId="693"/>
            <ac:spMk id="57" creationId="{00000000-0000-0000-0000-000000000000}"/>
          </ac:spMkLst>
        </pc:spChg>
        <pc:picChg chg="add mod">
          <ac:chgData name="Poyrekar, Nikita" userId="81b7bcf0-b252-48e8-8b8e-b08ae8900a92" providerId="ADAL" clId="{88332AA9-C8C3-4F42-BF74-2A5B661B2A53}" dt="2022-10-25T10:51:41.148" v="863" actId="1036"/>
          <ac:picMkLst>
            <pc:docMk/>
            <pc:sldMk cId="2678710148" sldId="693"/>
            <ac:picMk id="5" creationId="{DE76CACD-52CD-4454-AAE1-B4A1C7597BD3}"/>
          </ac:picMkLst>
        </pc:picChg>
        <pc:picChg chg="mod">
          <ac:chgData name="Poyrekar, Nikita" userId="81b7bcf0-b252-48e8-8b8e-b08ae8900a92" providerId="ADAL" clId="{88332AA9-C8C3-4F42-BF74-2A5B661B2A53}" dt="2022-10-25T10:51:17.468" v="813" actId="1076"/>
          <ac:picMkLst>
            <pc:docMk/>
            <pc:sldMk cId="2678710148" sldId="693"/>
            <ac:picMk id="7" creationId="{35B07E6F-2E6A-4E1C-B6B2-652F56E5B9B6}"/>
          </ac:picMkLst>
        </pc:picChg>
        <pc:picChg chg="add del mod">
          <ac:chgData name="Poyrekar, Nikita" userId="81b7bcf0-b252-48e8-8b8e-b08ae8900a92" providerId="ADAL" clId="{88332AA9-C8C3-4F42-BF74-2A5B661B2A53}" dt="2022-10-25T05:39:14.645" v="488"/>
          <ac:picMkLst>
            <pc:docMk/>
            <pc:sldMk cId="2678710148" sldId="693"/>
            <ac:picMk id="8" creationId="{3CE263C8-F917-4499-9471-229DD4DC1EBB}"/>
          </ac:picMkLst>
        </pc:picChg>
      </pc:sldChg>
      <pc:sldMasterChg chg="addSp">
        <pc:chgData name="Poyrekar, Nikita" userId="81b7bcf0-b252-48e8-8b8e-b08ae8900a92" providerId="ADAL" clId="{88332AA9-C8C3-4F42-BF74-2A5B661B2A53}" dt="2022-10-19T14:29:32.651" v="266"/>
        <pc:sldMasterMkLst>
          <pc:docMk/>
          <pc:sldMasterMk cId="3787865956" sldId="2147483756"/>
        </pc:sldMasterMkLst>
        <pc:spChg chg="add">
          <ac:chgData name="Poyrekar, Nikita" userId="81b7bcf0-b252-48e8-8b8e-b08ae8900a92" providerId="ADAL" clId="{88332AA9-C8C3-4F42-BF74-2A5B661B2A53}" dt="2022-10-19T14:29:32.651" v="266"/>
          <ac:spMkLst>
            <pc:docMk/>
            <pc:sldMasterMk cId="3787865956" sldId="2147483756"/>
            <ac:spMk id="8" creationId="{42C5EF5C-F36A-4CDD-823E-2F62E4D95009}"/>
          </ac:spMkLst>
        </pc:spChg>
        <pc:spChg chg="add">
          <ac:chgData name="Poyrekar, Nikita" userId="81b7bcf0-b252-48e8-8b8e-b08ae8900a92" providerId="ADAL" clId="{88332AA9-C8C3-4F42-BF74-2A5B661B2A53}" dt="2022-10-19T14:29:32.651" v="266"/>
          <ac:spMkLst>
            <pc:docMk/>
            <pc:sldMasterMk cId="3787865956" sldId="2147483756"/>
            <ac:spMk id="9" creationId="{10DAD578-2648-4D54-88F8-AC73127E42B6}"/>
          </ac:spMkLst>
        </pc:spChg>
      </pc:sldMasterChg>
    </pc:docChg>
  </pc:docChgLst>
  <pc:docChgLst>
    <pc:chgData name="Poyrekar, Nikita" userId="81b7bcf0-b252-48e8-8b8e-b08ae8900a92" providerId="ADAL" clId="{0C040029-E90A-47AA-A7B0-C075E074534A}"/>
    <pc:docChg chg="modSld">
      <pc:chgData name="Poyrekar, Nikita" userId="81b7bcf0-b252-48e8-8b8e-b08ae8900a92" providerId="ADAL" clId="{0C040029-E90A-47AA-A7B0-C075E074534A}" dt="2022-05-09T05:38:25.383" v="244" actId="20577"/>
      <pc:docMkLst>
        <pc:docMk/>
      </pc:docMkLst>
      <pc:sldChg chg="modSp mod">
        <pc:chgData name="Poyrekar, Nikita" userId="81b7bcf0-b252-48e8-8b8e-b08ae8900a92" providerId="ADAL" clId="{0C040029-E90A-47AA-A7B0-C075E074534A}" dt="2022-05-09T05:38:25.383" v="244" actId="20577"/>
        <pc:sldMkLst>
          <pc:docMk/>
          <pc:sldMk cId="2678710148" sldId="693"/>
        </pc:sldMkLst>
        <pc:spChg chg="mod">
          <ac:chgData name="Poyrekar, Nikita" userId="81b7bcf0-b252-48e8-8b8e-b08ae8900a92" providerId="ADAL" clId="{0C040029-E90A-47AA-A7B0-C075E074534A}" dt="2022-05-09T05:38:25.383" v="244" actId="20577"/>
          <ac:spMkLst>
            <pc:docMk/>
            <pc:sldMk cId="2678710148" sldId="693"/>
            <ac:spMk id="2" creationId="{00000000-0000-0000-0000-000000000000}"/>
          </ac:spMkLst>
        </pc:spChg>
        <pc:spChg chg="mod">
          <ac:chgData name="Poyrekar, Nikita" userId="81b7bcf0-b252-48e8-8b8e-b08ae8900a92" providerId="ADAL" clId="{0C040029-E90A-47AA-A7B0-C075E074534A}" dt="2022-05-09T05:38:07.291" v="241" actId="20577"/>
          <ac:spMkLst>
            <pc:docMk/>
            <pc:sldMk cId="2678710148" sldId="693"/>
            <ac:spMk id="15" creationId="{00000000-0000-0000-0000-000000000000}"/>
          </ac:spMkLst>
        </pc:spChg>
        <pc:spChg chg="mod">
          <ac:chgData name="Poyrekar, Nikita" userId="81b7bcf0-b252-48e8-8b8e-b08ae8900a92" providerId="ADAL" clId="{0C040029-E90A-47AA-A7B0-C075E074534A}" dt="2022-05-09T05:33:46.229" v="192" actId="20577"/>
          <ac:spMkLst>
            <pc:docMk/>
            <pc:sldMk cId="2678710148" sldId="693"/>
            <ac:spMk id="16" creationId="{00000000-0000-0000-0000-000000000000}"/>
          </ac:spMkLst>
        </pc:spChg>
        <pc:spChg chg="mod">
          <ac:chgData name="Poyrekar, Nikita" userId="81b7bcf0-b252-48e8-8b8e-b08ae8900a92" providerId="ADAL" clId="{0C040029-E90A-47AA-A7B0-C075E074534A}" dt="2022-05-09T05:35:37.684" v="236" actId="20577"/>
          <ac:spMkLst>
            <pc:docMk/>
            <pc:sldMk cId="2678710148" sldId="693"/>
            <ac:spMk id="18" creationId="{00000000-0000-0000-0000-000000000000}"/>
          </ac:spMkLst>
        </pc:spChg>
      </pc:sldChg>
    </pc:docChg>
  </pc:docChgLst>
  <pc:docChgLst>
    <pc:chgData name="Poyrekar, Nikita" userId="81b7bcf0-b252-48e8-8b8e-b08ae8900a92" providerId="ADAL" clId="{E4D5CF6B-2C5C-43F0-B4AB-E88E5F109317}"/>
    <pc:docChg chg="custSel modSld">
      <pc:chgData name="Poyrekar, Nikita" userId="81b7bcf0-b252-48e8-8b8e-b08ae8900a92" providerId="ADAL" clId="{E4D5CF6B-2C5C-43F0-B4AB-E88E5F109317}" dt="2022-07-24T06:05:15.620" v="152" actId="20577"/>
      <pc:docMkLst>
        <pc:docMk/>
      </pc:docMkLst>
      <pc:sldChg chg="modSp mod">
        <pc:chgData name="Poyrekar, Nikita" userId="81b7bcf0-b252-48e8-8b8e-b08ae8900a92" providerId="ADAL" clId="{E4D5CF6B-2C5C-43F0-B4AB-E88E5F109317}" dt="2022-07-24T06:05:15.620" v="152" actId="20577"/>
        <pc:sldMkLst>
          <pc:docMk/>
          <pc:sldMk cId="2678710148" sldId="693"/>
        </pc:sldMkLst>
        <pc:spChg chg="mod">
          <ac:chgData name="Poyrekar, Nikita" userId="81b7bcf0-b252-48e8-8b8e-b08ae8900a92" providerId="ADAL" clId="{E4D5CF6B-2C5C-43F0-B4AB-E88E5F109317}" dt="2022-07-24T06:05:15.620" v="152" actId="20577"/>
          <ac:spMkLst>
            <pc:docMk/>
            <pc:sldMk cId="2678710148" sldId="693"/>
            <ac:spMk id="2" creationId="{00000000-0000-0000-0000-000000000000}"/>
          </ac:spMkLst>
        </pc:spChg>
        <pc:spChg chg="mod">
          <ac:chgData name="Poyrekar, Nikita" userId="81b7bcf0-b252-48e8-8b8e-b08ae8900a92" providerId="ADAL" clId="{E4D5CF6B-2C5C-43F0-B4AB-E88E5F109317}" dt="2022-07-24T06:03:12.754" v="116" actId="14100"/>
          <ac:spMkLst>
            <pc:docMk/>
            <pc:sldMk cId="2678710148" sldId="693"/>
            <ac:spMk id="15" creationId="{00000000-0000-0000-0000-000000000000}"/>
          </ac:spMkLst>
        </pc:spChg>
        <pc:spChg chg="mod">
          <ac:chgData name="Poyrekar, Nikita" userId="81b7bcf0-b252-48e8-8b8e-b08ae8900a92" providerId="ADAL" clId="{E4D5CF6B-2C5C-43F0-B4AB-E88E5F109317}" dt="2022-07-24T06:02:31.856" v="73" actId="14100"/>
          <ac:spMkLst>
            <pc:docMk/>
            <pc:sldMk cId="2678710148" sldId="693"/>
            <ac:spMk id="16" creationId="{00000000-0000-0000-0000-000000000000}"/>
          </ac:spMkLst>
        </pc:spChg>
        <pc:spChg chg="mod">
          <ac:chgData name="Poyrekar, Nikita" userId="81b7bcf0-b252-48e8-8b8e-b08ae8900a92" providerId="ADAL" clId="{E4D5CF6B-2C5C-43F0-B4AB-E88E5F109317}" dt="2022-07-24T06:02:36.831" v="83" actId="1036"/>
          <ac:spMkLst>
            <pc:docMk/>
            <pc:sldMk cId="2678710148" sldId="693"/>
            <ac:spMk id="17" creationId="{00000000-0000-0000-0000-000000000000}"/>
          </ac:spMkLst>
        </pc:spChg>
        <pc:spChg chg="mod">
          <ac:chgData name="Poyrekar, Nikita" userId="81b7bcf0-b252-48e8-8b8e-b08ae8900a92" providerId="ADAL" clId="{E4D5CF6B-2C5C-43F0-B4AB-E88E5F109317}" dt="2022-07-24T06:02:58.170" v="103" actId="14100"/>
          <ac:spMkLst>
            <pc:docMk/>
            <pc:sldMk cId="2678710148" sldId="693"/>
            <ac:spMk id="18" creationId="{00000000-0000-0000-0000-000000000000}"/>
          </ac:spMkLst>
        </pc:spChg>
        <pc:spChg chg="mod">
          <ac:chgData name="Poyrekar, Nikita" userId="81b7bcf0-b252-48e8-8b8e-b08ae8900a92" providerId="ADAL" clId="{E4D5CF6B-2C5C-43F0-B4AB-E88E5F109317}" dt="2022-07-24T06:02:16.727" v="59" actId="1035"/>
          <ac:spMkLst>
            <pc:docMk/>
            <pc:sldMk cId="2678710148" sldId="693"/>
            <ac:spMk id="21" creationId="{00000000-0000-0000-0000-000000000000}"/>
          </ac:spMkLst>
        </pc:spChg>
      </pc:sldChg>
    </pc:docChg>
  </pc:docChgLst>
  <pc:docChgLst>
    <pc:chgData name="Poyrekar, Nikita" userId="81b7bcf0-b252-48e8-8b8e-b08ae8900a92" providerId="ADAL" clId="{76434F58-1023-4787-8705-48D7B685D1E9}"/>
    <pc:docChg chg="custSel modSld">
      <pc:chgData name="Poyrekar, Nikita" userId="81b7bcf0-b252-48e8-8b8e-b08ae8900a92" providerId="ADAL" clId="{76434F58-1023-4787-8705-48D7B685D1E9}" dt="2023-07-02T14:26:48.467" v="45" actId="478"/>
      <pc:docMkLst>
        <pc:docMk/>
      </pc:docMkLst>
      <pc:sldChg chg="addSp delSp modSp mod">
        <pc:chgData name="Poyrekar, Nikita" userId="81b7bcf0-b252-48e8-8b8e-b08ae8900a92" providerId="ADAL" clId="{76434F58-1023-4787-8705-48D7B685D1E9}" dt="2023-07-02T14:26:48.467" v="45" actId="478"/>
        <pc:sldMkLst>
          <pc:docMk/>
          <pc:sldMk cId="2678710148" sldId="693"/>
        </pc:sldMkLst>
        <pc:spChg chg="add del mod">
          <ac:chgData name="Poyrekar, Nikita" userId="81b7bcf0-b252-48e8-8b8e-b08ae8900a92" providerId="ADAL" clId="{76434F58-1023-4787-8705-48D7B685D1E9}" dt="2023-07-02T14:26:48.467" v="45" actId="478"/>
          <ac:spMkLst>
            <pc:docMk/>
            <pc:sldMk cId="2678710148" sldId="693"/>
            <ac:spMk id="3" creationId="{96F8FF6A-2A7D-7E18-6C7F-D7A2F1712E89}"/>
          </ac:spMkLst>
        </pc:spChg>
        <pc:spChg chg="mod">
          <ac:chgData name="Poyrekar, Nikita" userId="81b7bcf0-b252-48e8-8b8e-b08ae8900a92" providerId="ADAL" clId="{76434F58-1023-4787-8705-48D7B685D1E9}" dt="2023-07-02T14:25:34.875" v="16" actId="20577"/>
          <ac:spMkLst>
            <pc:docMk/>
            <pc:sldMk cId="2678710148" sldId="693"/>
            <ac:spMk id="18" creationId="{00000000-0000-0000-0000-000000000000}"/>
          </ac:spMkLst>
        </pc:spChg>
        <pc:spChg chg="mod">
          <ac:chgData name="Poyrekar, Nikita" userId="81b7bcf0-b252-48e8-8b8e-b08ae8900a92" providerId="ADAL" clId="{76434F58-1023-4787-8705-48D7B685D1E9}" dt="2023-07-02T14:26:35.903" v="42" actId="20577"/>
          <ac:spMkLst>
            <pc:docMk/>
            <pc:sldMk cId="2678710148" sldId="693"/>
            <ac:spMk id="57" creationId="{00000000-0000-0000-0000-000000000000}"/>
          </ac:spMkLst>
        </pc:spChg>
        <pc:picChg chg="add mod">
          <ac:chgData name="Poyrekar, Nikita" userId="81b7bcf0-b252-48e8-8b8e-b08ae8900a92" providerId="ADAL" clId="{76434F58-1023-4787-8705-48D7B685D1E9}" dt="2023-07-02T14:26:43.285" v="44"/>
          <ac:picMkLst>
            <pc:docMk/>
            <pc:sldMk cId="2678710148" sldId="693"/>
            <ac:picMk id="4" creationId="{0EC88458-AB75-7BB8-1255-B9126A950B3B}"/>
          </ac:picMkLst>
        </pc:picChg>
        <pc:picChg chg="del">
          <ac:chgData name="Poyrekar, Nikita" userId="81b7bcf0-b252-48e8-8b8e-b08ae8900a92" providerId="ADAL" clId="{76434F58-1023-4787-8705-48D7B685D1E9}" dt="2023-07-02T14:26:42.832" v="43" actId="478"/>
          <ac:picMkLst>
            <pc:docMk/>
            <pc:sldMk cId="2678710148" sldId="693"/>
            <ac:picMk id="6" creationId="{67B3EB1F-2821-412E-88DA-0648A3498C0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02-Jul-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02-Jul-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sldNum="0"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68141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Tree>
    <p:extLst>
      <p:ext uri="{BB962C8B-B14F-4D97-AF65-F5344CB8AC3E}">
        <p14:creationId xmlns:p14="http://schemas.microsoft.com/office/powerpoint/2010/main" val="30184801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5" name="Text Placeholder 2"/>
          <p:cNvSpPr>
            <a:spLocks noGrp="1"/>
          </p:cNvSpPr>
          <p:nvPr>
            <p:ph type="body" sz="quarter" idx="13"/>
          </p:nvPr>
        </p:nvSpPr>
        <p:spPr>
          <a:xfrm>
            <a:off x="501650" y="651601"/>
            <a:ext cx="11162350" cy="757255"/>
          </a:xfrm>
        </p:spPr>
        <p:txBody>
          <a:bodyPr/>
          <a:lstStyle>
            <a:lvl1pPr>
              <a:defRPr>
                <a:latin typeface="Calibri" panose="020F0502020204030204" pitchFamily="34" charset="0"/>
                <a:cs typeface="Calibri" panose="020F0502020204030204" pitchFamily="34" charset="0"/>
              </a:defRPr>
            </a:lvl1pPr>
          </a:lstStyle>
          <a:p>
            <a:r>
              <a:rPr lang="en-US" sz="1800" b="1" i="1" dirty="0"/>
              <a:t>&lt;Name&gt;</a:t>
            </a:r>
            <a:endParaRPr lang="en-IN" sz="1800" b="1" i="1" dirty="0"/>
          </a:p>
        </p:txBody>
      </p:sp>
      <p:sp>
        <p:nvSpPr>
          <p:cNvPr id="6" name="Title 2"/>
          <p:cNvSpPr>
            <a:spLocks noGrp="1"/>
          </p:cNvSpPr>
          <p:nvPr>
            <p:ph type="title"/>
          </p:nvPr>
        </p:nvSpPr>
        <p:spPr>
          <a:xfrm>
            <a:off x="501650" y="317499"/>
            <a:ext cx="11162350" cy="698501"/>
          </a:xfrm>
        </p:spPr>
        <p:txBody>
          <a:bodyPr/>
          <a:lstStyle>
            <a:lvl1pPr>
              <a:defRPr>
                <a:latin typeface="Calibri" panose="020F0502020204030204" pitchFamily="34" charset="0"/>
                <a:cs typeface="Calibri" panose="020F0502020204030204" pitchFamily="34" charset="0"/>
              </a:defRPr>
            </a:lvl1pPr>
          </a:lstStyle>
          <a:p>
            <a:r>
              <a:rPr lang="en-US" b="1" dirty="0"/>
              <a:t>Profile</a:t>
            </a:r>
            <a:endParaRPr lang="en-IN" b="1" i="1" dirty="0">
              <a:solidFill>
                <a:schemeClr val="accent6"/>
              </a:solidFill>
            </a:endParaRPr>
          </a:p>
        </p:txBody>
      </p:sp>
      <p:sp>
        <p:nvSpPr>
          <p:cNvPr id="10" name="Rectangle 9"/>
          <p:cNvSpPr/>
          <p:nvPr userDrawn="1"/>
        </p:nvSpPr>
        <p:spPr>
          <a:xfrm>
            <a:off x="325947" y="3306687"/>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Qualifications</a:t>
            </a:r>
          </a:p>
        </p:txBody>
      </p:sp>
      <p:sp>
        <p:nvSpPr>
          <p:cNvPr id="11" name="Rectangle 10"/>
          <p:cNvSpPr/>
          <p:nvPr userDrawn="1"/>
        </p:nvSpPr>
        <p:spPr>
          <a:xfrm>
            <a:off x="291442" y="3567841"/>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endParaRPr lang="en-US" sz="10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Rectangle 11"/>
          <p:cNvSpPr/>
          <p:nvPr userDrawn="1"/>
        </p:nvSpPr>
        <p:spPr>
          <a:xfrm>
            <a:off x="2496960" y="1326588"/>
            <a:ext cx="9037646" cy="2051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p>
        </p:txBody>
      </p:sp>
      <p:sp>
        <p:nvSpPr>
          <p:cNvPr id="13" name="Rectangle 12"/>
          <p:cNvSpPr/>
          <p:nvPr userDrawn="1"/>
        </p:nvSpPr>
        <p:spPr>
          <a:xfrm>
            <a:off x="2496960" y="3269676"/>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Key Engagements</a:t>
            </a:r>
          </a:p>
        </p:txBody>
      </p:sp>
      <p:sp>
        <p:nvSpPr>
          <p:cNvPr id="15" name="Rectangle 14"/>
          <p:cNvSpPr/>
          <p:nvPr userDrawn="1"/>
        </p:nvSpPr>
        <p:spPr>
          <a:xfrm>
            <a:off x="2496960" y="3497225"/>
            <a:ext cx="9037646" cy="3089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endParaRPr lang="en-US" sz="900" dirty="0">
              <a:solidFill>
                <a:schemeClr val="tx1"/>
              </a:solidFill>
              <a:latin typeface="Calibri" panose="020F0502020204030204" pitchFamily="34" charset="0"/>
              <a:cs typeface="Calibri" panose="020F0502020204030204" pitchFamily="34" charset="0"/>
            </a:endParaRPr>
          </a:p>
        </p:txBody>
      </p:sp>
      <p:sp>
        <p:nvSpPr>
          <p:cNvPr id="16" name="Rectangle 15"/>
          <p:cNvSpPr/>
          <p:nvPr userDrawn="1"/>
        </p:nvSpPr>
        <p:spPr>
          <a:xfrm>
            <a:off x="2496960" y="1086108"/>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Professional Experience</a:t>
            </a:r>
          </a:p>
        </p:txBody>
      </p:sp>
      <p:sp>
        <p:nvSpPr>
          <p:cNvPr id="17" name="Rectangle 16"/>
          <p:cNvSpPr/>
          <p:nvPr userDrawn="1"/>
        </p:nvSpPr>
        <p:spPr>
          <a:xfrm>
            <a:off x="291441" y="4381473"/>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Certifications</a:t>
            </a:r>
          </a:p>
        </p:txBody>
      </p:sp>
    </p:spTree>
    <p:extLst>
      <p:ext uri="{BB962C8B-B14F-4D97-AF65-F5344CB8AC3E}">
        <p14:creationId xmlns:p14="http://schemas.microsoft.com/office/powerpoint/2010/main" val="135954888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bin"/><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a:solidFill>
                  <a:srgbClr val="000000"/>
                </a:solidFill>
              </a:rPr>
              <a:pPr algn="r">
                <a:spcBef>
                  <a:spcPts val="800"/>
                </a:spcBef>
                <a:buSzPct val="100000"/>
                <a:buFont typeface="Arial"/>
                <a:buNone/>
              </a:pPr>
              <a:t>‹#›</a:t>
            </a:fld>
            <a:endParaRPr lang="en-GB" sz="650" dirty="0">
              <a:solidFill>
                <a:srgbClr val="000000"/>
              </a:solidFill>
            </a:endParaRPr>
          </a:p>
        </p:txBody>
      </p:sp>
      <p:sp>
        <p:nvSpPr>
          <p:cNvPr id="7" name="TextBox 6"/>
          <p:cNvSpPr txBox="1"/>
          <p:nvPr userDrawn="1"/>
        </p:nvSpPr>
        <p:spPr>
          <a:xfrm>
            <a:off x="500408" y="6489083"/>
            <a:ext cx="5341920" cy="107722"/>
          </a:xfrm>
          <a:prstGeom prst="rect">
            <a:avLst/>
          </a:prstGeom>
          <a:noFill/>
        </p:spPr>
        <p:txBody>
          <a:bodyPr wrap="square" lIns="0" tIns="0" rIns="0" bIns="0" rtlCol="0">
            <a:spAutoFit/>
          </a:bodyPr>
          <a:lstStyle/>
          <a:p>
            <a:pPr>
              <a:spcBef>
                <a:spcPts val="599"/>
              </a:spcBef>
              <a:buSzPct val="100000"/>
              <a:buFont typeface="Arial"/>
              <a:buNone/>
            </a:pPr>
            <a:r>
              <a:rPr lang="fr-FR" sz="700" dirty="0">
                <a:solidFill>
                  <a:prstClr val="black"/>
                </a:solidFill>
              </a:rPr>
              <a:t>© 2020 Deloitte Touche Tohmatsu India LLP</a:t>
            </a:r>
            <a:endParaRPr lang="en-US" sz="648" dirty="0">
              <a:solidFill>
                <a:srgbClr val="000000"/>
              </a:solidFill>
            </a:endParaRPr>
          </a:p>
        </p:txBody>
      </p:sp>
    </p:spTree>
    <p:extLst>
      <p:ext uri="{BB962C8B-B14F-4D97-AF65-F5344CB8AC3E}">
        <p14:creationId xmlns:p14="http://schemas.microsoft.com/office/powerpoint/2010/main" val="2271381000"/>
      </p:ext>
    </p:extLst>
  </p:cSld>
  <p:clrMap bg1="lt1" tx1="dk1" bg2="lt2" tx2="dk2" accent1="accent1" accent2="accent2" accent3="accent3" accent4="accent4" accent5="accent5" accent6="accent6" hlink="hlink" folHlink="folHlink"/>
  <p:sldLayoutIdLst>
    <p:sldLayoutId id="2147483752" r:id="rId1"/>
    <p:sldLayoutId id="2147483755" r:id="rId2"/>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7">
          <p15:clr>
            <a:srgbClr val="F26B43"/>
          </p15:clr>
        </p15:guide>
        <p15:guide id="2" pos="296">
          <p15:clr>
            <a:srgbClr val="F26B43"/>
          </p15:clr>
        </p15:guide>
        <p15:guide id="3" pos="7397">
          <p15:clr>
            <a:srgbClr val="F26B43"/>
          </p15:clr>
        </p15:guide>
        <p15:guide id="4" orient="horz" pos="245">
          <p15:clr>
            <a:srgbClr val="F26B43"/>
          </p15:clr>
        </p15:guide>
        <p15:guide id="5" orient="horz" pos="4081">
          <p15:clr>
            <a:srgbClr val="F26B43"/>
          </p15:clr>
        </p15:guide>
        <p15:guide id="6" orient="horz" pos="1043">
          <p15:clr>
            <a:srgbClr val="F26B43"/>
          </p15:clr>
        </p15:guide>
        <p15:guide id="7" orient="horz" pos="7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npoyrekar@deloitte.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3.jpg"/><Relationship Id="rId5" Type="http://schemas.openxmlformats.org/officeDocument/2006/relationships/hyperlink" Target="https://www.linkedin.com/in/nikitapoyrekar/details/certifications/" TargetMode="Externa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p:cNvSpPr>
            <a:spLocks noGrp="1"/>
          </p:cNvSpPr>
          <p:nvPr>
            <p:ph type="title"/>
          </p:nvPr>
        </p:nvSpPr>
        <p:spPr>
          <a:xfrm>
            <a:off x="220717" y="160135"/>
            <a:ext cx="11609921" cy="667423"/>
          </a:xfrm>
        </p:spPr>
        <p:txBody>
          <a:bodyPr/>
          <a:lstStyle/>
          <a:p>
            <a:r>
              <a:rPr lang="en-US" sz="1800" b="1" dirty="0">
                <a:latin typeface="+mn-lt"/>
                <a:cs typeface="Calibri" panose="020F0502020204030204" pitchFamily="34" charset="0"/>
              </a:rPr>
              <a:t> Nikita Deepak Poyrekar</a:t>
            </a:r>
            <a:br>
              <a:rPr lang="en-US" sz="1800" b="1" dirty="0">
                <a:latin typeface="+mn-lt"/>
                <a:cs typeface="Calibri" panose="020F0502020204030204" pitchFamily="34" charset="0"/>
              </a:rPr>
            </a:br>
            <a:r>
              <a:rPr lang="en-US" sz="1800" b="1" dirty="0">
                <a:latin typeface="+mn-lt"/>
                <a:cs typeface="Calibri" panose="020F0502020204030204" pitchFamily="34" charset="0"/>
              </a:rPr>
              <a:t> </a:t>
            </a:r>
            <a:r>
              <a:rPr lang="en-US" sz="1400" dirty="0">
                <a:latin typeface="+mn-lt"/>
                <a:cs typeface="Calibri" panose="020F0502020204030204" pitchFamily="34" charset="0"/>
              </a:rPr>
              <a:t>Senior Consultant, Deloitte India</a:t>
            </a:r>
            <a:endParaRPr lang="en-IN" sz="1800" b="1" i="1" dirty="0">
              <a:solidFill>
                <a:schemeClr val="accent6"/>
              </a:solidFill>
              <a:latin typeface="+mn-lt"/>
              <a:cs typeface="Calibri" panose="020F0502020204030204" pitchFamily="34" charset="0"/>
            </a:endParaRPr>
          </a:p>
        </p:txBody>
      </p:sp>
      <p:sp>
        <p:nvSpPr>
          <p:cNvPr id="12" name="Text Placeholder 1"/>
          <p:cNvSpPr txBox="1">
            <a:spLocks/>
          </p:cNvSpPr>
          <p:nvPr/>
        </p:nvSpPr>
        <p:spPr>
          <a:xfrm>
            <a:off x="276944" y="2241256"/>
            <a:ext cx="1980000" cy="587297"/>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300"/>
              </a:spcBef>
              <a:spcAft>
                <a:spcPts val="0"/>
              </a:spcAft>
              <a:buClrTx/>
              <a:buSzTx/>
              <a:buFont typeface="Arial" pitchFamily="34" charset="0"/>
              <a:buNone/>
              <a:tabLst/>
              <a:defRPr/>
            </a:pPr>
            <a:r>
              <a:rPr lang="en-GB" sz="900" noProof="0" dirty="0">
                <a:solidFill>
                  <a:srgbClr val="5528FF"/>
                </a:solidFill>
                <a:cs typeface="Calibri" panose="020F0502020204030204" pitchFamily="34" charset="0"/>
                <a:hlinkClick r:id="rId3">
                  <a:extLst>
                    <a:ext uri="{A12FA001-AC4F-418D-AE19-62706E023703}">
                      <ahyp:hlinkClr xmlns:ahyp="http://schemas.microsoft.com/office/drawing/2018/hyperlinkcolor" val="tx"/>
                    </a:ext>
                  </a:extLst>
                </a:hlinkClick>
              </a:rPr>
              <a:t>npoyrekar@deloitte.com</a:t>
            </a:r>
            <a:endParaRPr lang="en-GB" sz="900" noProof="0" dirty="0">
              <a:solidFill>
                <a:srgbClr val="5528FF"/>
              </a:solidFill>
              <a:cs typeface="Calibri" panose="020F0502020204030204" pitchFamily="34" charset="0"/>
            </a:endParaRPr>
          </a:p>
          <a:p>
            <a:pPr marL="0" marR="0" lvl="0" indent="0" algn="ctr" defTabSz="914400" rtl="0" eaLnBrk="1" fontAlgn="auto" latinLnBrk="0" hangingPunct="1">
              <a:lnSpc>
                <a:spcPct val="150000"/>
              </a:lnSpc>
              <a:spcBef>
                <a:spcPts val="300"/>
              </a:spcBef>
              <a:spcAft>
                <a:spcPts val="0"/>
              </a:spcAft>
              <a:buClrTx/>
              <a:buSzTx/>
              <a:buFont typeface="Arial" pitchFamily="34" charset="0"/>
              <a:buNone/>
              <a:tabLst/>
              <a:defRPr/>
            </a:pPr>
            <a:r>
              <a:rPr lang="en-GB" sz="900" dirty="0">
                <a:solidFill>
                  <a:srgbClr val="5528FF"/>
                </a:solidFill>
                <a:cs typeface="Calibri" panose="020F0502020204030204" pitchFamily="34" charset="0"/>
              </a:rPr>
              <a:t>Phone: +91 897 654 8557</a:t>
            </a:r>
          </a:p>
        </p:txBody>
      </p:sp>
      <p:sp>
        <p:nvSpPr>
          <p:cNvPr id="14" name="Rectangle 13"/>
          <p:cNvSpPr/>
          <p:nvPr/>
        </p:nvSpPr>
        <p:spPr>
          <a:xfrm>
            <a:off x="276944" y="2753053"/>
            <a:ext cx="1980000" cy="261129"/>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Qualifications</a:t>
            </a:r>
          </a:p>
        </p:txBody>
      </p:sp>
      <p:sp>
        <p:nvSpPr>
          <p:cNvPr id="15" name="Rectangle 14"/>
          <p:cNvSpPr/>
          <p:nvPr/>
        </p:nvSpPr>
        <p:spPr>
          <a:xfrm>
            <a:off x="276944" y="3083410"/>
            <a:ext cx="1980000" cy="703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lnSpc>
                <a:spcPct val="150000"/>
              </a:lnSpc>
              <a:buClr>
                <a:srgbClr val="53565A"/>
              </a:buClr>
              <a:buSzPct val="70000"/>
              <a:buFont typeface="Arial" pitchFamily="34" charset="0"/>
              <a:buChar char="►"/>
              <a:defRPr/>
            </a:pPr>
            <a:r>
              <a:rPr lang="en-US" sz="900" dirty="0">
                <a:solidFill>
                  <a:schemeClr val="tx1">
                    <a:lumMod val="65000"/>
                    <a:lumOff val="35000"/>
                  </a:schemeClr>
                </a:solidFill>
              </a:rPr>
              <a:t>MTech: Autonomous (KJSCE Mumbai)</a:t>
            </a:r>
          </a:p>
          <a:p>
            <a:pPr marL="169069" lvl="1" indent="-169069" eaLnBrk="0" hangingPunct="0">
              <a:lnSpc>
                <a:spcPct val="150000"/>
              </a:lnSpc>
              <a:buClr>
                <a:srgbClr val="53565A"/>
              </a:buClr>
              <a:buSzPct val="70000"/>
              <a:buFont typeface="Arial" pitchFamily="34" charset="0"/>
              <a:buChar char="►"/>
              <a:defRPr/>
            </a:pPr>
            <a:r>
              <a:rPr lang="en-US" sz="900" dirty="0">
                <a:solidFill>
                  <a:schemeClr val="tx1">
                    <a:lumMod val="65000"/>
                    <a:lumOff val="35000"/>
                  </a:schemeClr>
                </a:solidFill>
              </a:rPr>
              <a:t>B. E: Mumbai University</a:t>
            </a:r>
          </a:p>
        </p:txBody>
      </p:sp>
      <p:sp>
        <p:nvSpPr>
          <p:cNvPr id="22" name="Rectangle 21">
            <a:extLst>
              <a:ext uri="{C183D7F6-B498-43B3-948B-1728B52AA6E4}">
                <adec:decorative xmlns:adec="http://schemas.microsoft.com/office/drawing/2017/decorative" val="0"/>
              </a:ext>
            </a:extLst>
          </p:cNvPr>
          <p:cNvSpPr/>
          <p:nvPr/>
        </p:nvSpPr>
        <p:spPr>
          <a:xfrm>
            <a:off x="276944" y="3897287"/>
            <a:ext cx="1980000" cy="288030"/>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Certifications</a:t>
            </a:r>
          </a:p>
        </p:txBody>
      </p:sp>
      <p:pic>
        <p:nvPicPr>
          <p:cNvPr id="5" name="Picture 4" descr="Google CDL certification badge">
            <a:extLst>
              <a:ext uri="{FF2B5EF4-FFF2-40B4-BE49-F238E27FC236}">
                <a16:creationId xmlns:a16="http://schemas.microsoft.com/office/drawing/2014/main" id="{DE76CACD-52CD-4454-AAE1-B4A1C7597BD3}"/>
              </a:ext>
            </a:extLst>
          </p:cNvPr>
          <p:cNvPicPr>
            <a:picLocks noChangeAspect="1"/>
          </p:cNvPicPr>
          <p:nvPr/>
        </p:nvPicPr>
        <p:blipFill>
          <a:blip r:embed="rId4"/>
          <a:stretch>
            <a:fillRect/>
          </a:stretch>
        </p:blipFill>
        <p:spPr>
          <a:xfrm>
            <a:off x="276944" y="4295800"/>
            <a:ext cx="731061" cy="653654"/>
          </a:xfrm>
          <a:prstGeom prst="rect">
            <a:avLst/>
          </a:prstGeom>
        </p:spPr>
      </p:pic>
      <p:sp>
        <p:nvSpPr>
          <p:cNvPr id="23" name="Rectangle 22">
            <a:extLst>
              <a:ext uri="{FF2B5EF4-FFF2-40B4-BE49-F238E27FC236}">
                <a16:creationId xmlns:a16="http://schemas.microsoft.com/office/drawing/2014/main" id="{08096783-34E3-4E02-BA98-B7B2C5196BA0}"/>
              </a:ext>
            </a:extLst>
          </p:cNvPr>
          <p:cNvSpPr/>
          <p:nvPr/>
        </p:nvSpPr>
        <p:spPr>
          <a:xfrm>
            <a:off x="1003342" y="4370971"/>
            <a:ext cx="1253602" cy="541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lvl="1" algn="ctr" eaLnBrk="0" hangingPunct="0">
              <a:buClr>
                <a:srgbClr val="53565A"/>
              </a:buClr>
              <a:buSzPct val="70000"/>
              <a:defRPr/>
            </a:pPr>
            <a:r>
              <a:rPr lang="en-US" sz="900" b="1" dirty="0">
                <a:solidFill>
                  <a:schemeClr val="tx1">
                    <a:lumMod val="65000"/>
                    <a:lumOff val="35000"/>
                  </a:schemeClr>
                </a:solidFill>
                <a:cs typeface="Calibri" panose="020F0502020204030204" pitchFamily="34" charset="0"/>
              </a:rPr>
              <a:t>Google Certified Cloud Digital Leader</a:t>
            </a:r>
          </a:p>
        </p:txBody>
      </p:sp>
      <p:sp>
        <p:nvSpPr>
          <p:cNvPr id="28" name="Rectangle 27">
            <a:extLst>
              <a:ext uri="{FF2B5EF4-FFF2-40B4-BE49-F238E27FC236}">
                <a16:creationId xmlns:a16="http://schemas.microsoft.com/office/drawing/2014/main" id="{8C622EED-B644-481D-8267-6144F79A0584}"/>
              </a:ext>
            </a:extLst>
          </p:cNvPr>
          <p:cNvSpPr/>
          <p:nvPr/>
        </p:nvSpPr>
        <p:spPr>
          <a:xfrm>
            <a:off x="262039" y="5030489"/>
            <a:ext cx="1980000" cy="423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lvl="1" eaLnBrk="0" hangingPunct="0">
              <a:buClr>
                <a:srgbClr val="53565A"/>
              </a:buClr>
              <a:buSzPct val="70000"/>
              <a:defRPr/>
            </a:pPr>
            <a:r>
              <a:rPr lang="en-US" sz="1000" b="1" dirty="0">
                <a:solidFill>
                  <a:schemeClr val="tx1">
                    <a:lumMod val="65000"/>
                    <a:lumOff val="35000"/>
                  </a:schemeClr>
                </a:solidFill>
                <a:cs typeface="Calibri" panose="020F0502020204030204" pitchFamily="34" charset="0"/>
              </a:rPr>
              <a:t>Other Technical certifications </a:t>
            </a:r>
            <a:r>
              <a:rPr lang="en-US" sz="1000" b="1" dirty="0">
                <a:solidFill>
                  <a:schemeClr val="tx1"/>
                </a:solidFill>
                <a:cs typeface="Calibri" panose="020F0502020204030204" pitchFamily="34" charset="0"/>
              </a:rPr>
              <a:t>– </a:t>
            </a:r>
            <a:r>
              <a:rPr lang="en-US" sz="1000" dirty="0">
                <a:solidFill>
                  <a:schemeClr val="tx1"/>
                </a:solidFill>
                <a:cs typeface="Calibri" panose="020F0502020204030204" pitchFamily="34" charset="0"/>
                <a:hlinkClick r:id="rId5"/>
              </a:rPr>
              <a:t>Click here</a:t>
            </a:r>
            <a:endParaRPr lang="en-US" sz="1000" dirty="0">
              <a:solidFill>
                <a:schemeClr val="tx1"/>
              </a:solidFill>
              <a:cs typeface="Calibri" panose="020F0502020204030204" pitchFamily="34" charset="0"/>
            </a:endParaRPr>
          </a:p>
        </p:txBody>
      </p:sp>
      <p:sp>
        <p:nvSpPr>
          <p:cNvPr id="20" name="Rectangle 19">
            <a:extLst>
              <a:ext uri="{FF2B5EF4-FFF2-40B4-BE49-F238E27FC236}">
                <a16:creationId xmlns:a16="http://schemas.microsoft.com/office/drawing/2014/main" id="{DE521BAC-1841-4C04-8B3B-7E19F9B4CDB7}"/>
              </a:ext>
            </a:extLst>
          </p:cNvPr>
          <p:cNvSpPr/>
          <p:nvPr/>
        </p:nvSpPr>
        <p:spPr>
          <a:xfrm>
            <a:off x="220717" y="5572096"/>
            <a:ext cx="1980000" cy="288030"/>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Primary skills</a:t>
            </a:r>
          </a:p>
        </p:txBody>
      </p:sp>
      <p:sp>
        <p:nvSpPr>
          <p:cNvPr id="24" name="Rectangle 23">
            <a:extLst>
              <a:ext uri="{FF2B5EF4-FFF2-40B4-BE49-F238E27FC236}">
                <a16:creationId xmlns:a16="http://schemas.microsoft.com/office/drawing/2014/main" id="{F39E461E-E2E9-42E7-8E0E-712DB5335C27}"/>
              </a:ext>
            </a:extLst>
          </p:cNvPr>
          <p:cNvSpPr/>
          <p:nvPr/>
        </p:nvSpPr>
        <p:spPr>
          <a:xfrm>
            <a:off x="220717" y="5917608"/>
            <a:ext cx="1980000" cy="423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lvl="1" eaLnBrk="0" hangingPunct="0">
              <a:buClr>
                <a:srgbClr val="53565A"/>
              </a:buClr>
              <a:buSzPct val="70000"/>
              <a:defRPr/>
            </a:pPr>
            <a:r>
              <a:rPr lang="en-US" sz="900" dirty="0">
                <a:solidFill>
                  <a:schemeClr val="tx1">
                    <a:lumMod val="65000"/>
                    <a:lumOff val="35000"/>
                  </a:schemeClr>
                </a:solidFill>
                <a:cs typeface="Calibri" panose="020F0502020204030204" pitchFamily="34" charset="0"/>
              </a:rPr>
              <a:t>Front-end development – React Js, Angular and Next.js</a:t>
            </a:r>
          </a:p>
        </p:txBody>
      </p:sp>
      <p:sp>
        <p:nvSpPr>
          <p:cNvPr id="21" name="Rectangle 20" descr="Professional experience header"/>
          <p:cNvSpPr/>
          <p:nvPr/>
        </p:nvSpPr>
        <p:spPr>
          <a:xfrm>
            <a:off x="2538372" y="744273"/>
            <a:ext cx="9292266" cy="270077"/>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Professional Experience</a:t>
            </a:r>
          </a:p>
        </p:txBody>
      </p:sp>
      <p:sp>
        <p:nvSpPr>
          <p:cNvPr id="16" name="Rectangle 15"/>
          <p:cNvSpPr/>
          <p:nvPr/>
        </p:nvSpPr>
        <p:spPr>
          <a:xfrm>
            <a:off x="2538373" y="1043645"/>
            <a:ext cx="9292265" cy="37390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algn="just">
              <a:lnSpc>
                <a:spcPct val="150000"/>
              </a:lnSpc>
            </a:pPr>
            <a:r>
              <a:rPr lang="en-US" sz="900" dirty="0">
                <a:solidFill>
                  <a:prstClr val="black"/>
                </a:solidFill>
                <a:cs typeface="Calibri" panose="020F0502020204030204" pitchFamily="34" charset="0"/>
              </a:rPr>
              <a:t>Nikita is a Front-end developer with Deloitte India. She has 3 years of experience in software development and client management roles. She has developed enterprise applications with visually responsive elements using state-of-the-art JS frameworks like Angular, React JS and Next.js. She has led the entire PED (Product, Engineering and Design) team for projects across Healthcare, Property and retail management sectors. </a:t>
            </a:r>
          </a:p>
          <a:p>
            <a:pPr algn="just">
              <a:lnSpc>
                <a:spcPct val="150000"/>
              </a:lnSpc>
            </a:pPr>
            <a:r>
              <a:rPr lang="en-US" sz="900" dirty="0">
                <a:solidFill>
                  <a:prstClr val="black"/>
                </a:solidFill>
                <a:cs typeface="Calibri" panose="020F0502020204030204" pitchFamily="34" charset="0"/>
              </a:rPr>
              <a:t>Key competencies and experience include -</a:t>
            </a:r>
            <a:endParaRPr lang="en-ZA" sz="900" dirty="0">
              <a:solidFill>
                <a:prstClr val="black"/>
              </a:solidFill>
              <a:cs typeface="Calibri" panose="020F0502020204030204" pitchFamily="34" charset="0"/>
            </a:endParaRP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Waterfall &amp; Agile Software development practices</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presenting product demonstrations and project delivery updates</a:t>
            </a:r>
          </a:p>
          <a:p>
            <a:pPr algn="just">
              <a:lnSpc>
                <a:spcPct val="150000"/>
              </a:lnSpc>
            </a:pPr>
            <a:r>
              <a:rPr lang="en-ZA" sz="900" b="1" dirty="0">
                <a:solidFill>
                  <a:prstClr val="black"/>
                </a:solidFill>
                <a:cs typeface="Calibri" panose="020F0502020204030204" pitchFamily="34" charset="0"/>
              </a:rPr>
              <a:t>Tools &amp; Technology:</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gramming languages: JavaScript, TypeScript, HTML5, CSS3, Less, Python, etc.</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Frameworks: Angular, Next.js, Bootstrap, Semantic UI, Materialize and Tailwind CSS </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Libraries: React, Redux, Angular Material and Ant desig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Version control: Git, GitHub and Bitbucket</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UI design tools: Figma, InVision and Zepli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API collaboration: POSTMAN and Swagger</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ject management tools: Rally, Airtable and Atlassian tools like JIRA and Confluence</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Test libraries/frameworks: JEST, React testing library and Cypress.</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Task runners: Gulp4</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CI/CD: Working knowledge of Jenkins</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Cloud Fundamentals: Google Cloud Platform (GCP), CMS: Strapi</a:t>
            </a:r>
          </a:p>
          <a:p>
            <a:pPr marL="171450" indent="-171450" algn="just">
              <a:lnSpc>
                <a:spcPct val="150000"/>
              </a:lnSpc>
              <a:buFont typeface="Arial" panose="020B0604020202020204" pitchFamily="34" charset="0"/>
              <a:buChar char="•"/>
            </a:pPr>
            <a:endParaRPr lang="en-US" sz="900" dirty="0">
              <a:solidFill>
                <a:schemeClr val="tx1"/>
              </a:solidFill>
              <a:cs typeface="Calibri" panose="020F0502020204030204" pitchFamily="34" charset="0"/>
            </a:endParaRPr>
          </a:p>
        </p:txBody>
      </p:sp>
      <p:sp>
        <p:nvSpPr>
          <p:cNvPr id="17" name="Rectangle 16"/>
          <p:cNvSpPr/>
          <p:nvPr/>
        </p:nvSpPr>
        <p:spPr>
          <a:xfrm>
            <a:off x="2538372" y="4829549"/>
            <a:ext cx="9321525" cy="270077"/>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Key Engagements</a:t>
            </a:r>
          </a:p>
        </p:txBody>
      </p:sp>
      <p:sp>
        <p:nvSpPr>
          <p:cNvPr id="18" name="Rectangle 17" descr="This section talks about the key engagements of Nikita in her professional career">
            <a:extLst>
              <a:ext uri="{C183D7F6-B498-43B3-948B-1728B52AA6E4}">
                <adec:decorative xmlns:adec="http://schemas.microsoft.com/office/drawing/2017/decorative" val="0"/>
              </a:ext>
            </a:extLst>
          </p:cNvPr>
          <p:cNvSpPr/>
          <p:nvPr/>
        </p:nvSpPr>
        <p:spPr>
          <a:xfrm>
            <a:off x="2538375" y="5137351"/>
            <a:ext cx="9321522" cy="1560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algn="just">
              <a:lnSpc>
                <a:spcPct val="150000"/>
              </a:lnSpc>
              <a:buFont typeface="Arial" panose="020B0604020202020204" pitchFamily="34" charset="0"/>
              <a:buChar char="•"/>
            </a:pPr>
            <a:r>
              <a:rPr lang="en-US" sz="900" kern="0" dirty="0">
                <a:solidFill>
                  <a:srgbClr val="000000"/>
                </a:solidFill>
                <a:cs typeface="Calibri" panose="020F0502020204030204" pitchFamily="34" charset="0"/>
              </a:rPr>
              <a:t>Created an application that streamlines credit applications for vehicle financing of Europe's top automobile client’s E-commerce platform. Responsibilities encompassed backlog management, process definition, development, QA, and delivery management.</a:t>
            </a:r>
          </a:p>
          <a:p>
            <a:pPr marL="171450" indent="-171450" algn="just">
              <a:lnSpc>
                <a:spcPct val="150000"/>
              </a:lnSpc>
              <a:buFont typeface="Arial" panose="020B0604020202020204" pitchFamily="34" charset="0"/>
              <a:buChar char="•"/>
            </a:pPr>
            <a:r>
              <a:rPr lang="en-US" sz="900" kern="0" dirty="0">
                <a:solidFill>
                  <a:srgbClr val="000000"/>
                </a:solidFill>
                <a:cs typeface="Calibri" panose="020F0502020204030204" pitchFamily="34" charset="0"/>
              </a:rPr>
              <a:t>Devised and constructed a digital platform to simplify landlord-tenant management functions for the leading Commercial Real Estate organization in the USA. Duties included requirements gathering, problem identification, technical specification development, and implementation. Additionally, devised an internal tool that reduced website time-to-market from 6 weeks to 1.</a:t>
            </a:r>
          </a:p>
          <a:p>
            <a:pPr marL="171450" indent="-171450" algn="just">
              <a:lnSpc>
                <a:spcPct val="150000"/>
              </a:lnSpc>
              <a:buFont typeface="Arial" panose="020B0604020202020204" pitchFamily="34" charset="0"/>
              <a:buChar char="•"/>
            </a:pPr>
            <a:r>
              <a:rPr lang="en-US" sz="900" kern="0" dirty="0">
                <a:solidFill>
                  <a:srgbClr val="000000"/>
                </a:solidFill>
                <a:cs typeface="Calibri" panose="020F0502020204030204" pitchFamily="34" charset="0"/>
              </a:rPr>
              <a:t>Built a secure online platform for an Indian Pharma client. Responsibilities included analyzing requirements, prioritizing tasks, development, quality assurance, product demonstrations, and deployment.</a:t>
            </a:r>
          </a:p>
        </p:txBody>
      </p:sp>
      <p:pic>
        <p:nvPicPr>
          <p:cNvPr id="4" name="Content Placeholder 6" descr="A person smiling at the camera&#10;&#10;Description automatically generated with low confidence">
            <a:extLst>
              <a:ext uri="{FF2B5EF4-FFF2-40B4-BE49-F238E27FC236}">
                <a16:creationId xmlns:a16="http://schemas.microsoft.com/office/drawing/2014/main" id="{0EC88458-AB75-7BB8-1255-B9126A950B3B}"/>
              </a:ext>
            </a:extLst>
          </p:cNvPr>
          <p:cNvPicPr>
            <a:picLocks noChangeAspect="1"/>
          </p:cNvPicPr>
          <p:nvPr/>
        </p:nvPicPr>
        <p:blipFill rotWithShape="1">
          <a:blip r:embed="rId6"/>
          <a:srcRect t="16632"/>
          <a:stretch/>
        </p:blipFill>
        <p:spPr>
          <a:xfrm>
            <a:off x="693258" y="773491"/>
            <a:ext cx="1117561" cy="1467765"/>
          </a:xfrm>
          <a:prstGeom prst="rect">
            <a:avLst/>
          </a:prstGeom>
        </p:spPr>
      </p:pic>
    </p:spTree>
    <p:extLst>
      <p:ext uri="{BB962C8B-B14F-4D97-AF65-F5344CB8AC3E}">
        <p14:creationId xmlns:p14="http://schemas.microsoft.com/office/powerpoint/2010/main" val="2678710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11CBD6CE8BEBF47BB644B79398C098D" ma:contentTypeVersion="3" ma:contentTypeDescription="Create a new document." ma:contentTypeScope="" ma:versionID="1ec675df0dfb442a97ec99e2555374fd">
  <xsd:schema xmlns:xsd="http://www.w3.org/2001/XMLSchema" xmlns:xs="http://www.w3.org/2001/XMLSchema" xmlns:p="http://schemas.microsoft.com/office/2006/metadata/properties" xmlns:ns2="655bbda8-32d5-4c1a-a1fa-5cab6faa4b30" targetNamespace="http://schemas.microsoft.com/office/2006/metadata/properties" ma:root="true" ma:fieldsID="8c0e2b0a7ed4ea828b6d6e379a505a0a" ns2:_="">
    <xsd:import namespace="655bbda8-32d5-4c1a-a1fa-5cab6faa4b3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5bbda8-32d5-4c1a-a1fa-5cab6faa4b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100C16-0770-41BD-BAA6-41F6DF6BE2E2}">
  <ds:schemaRefs>
    <ds:schemaRef ds:uri="http://schemas.microsoft.com/sharepoint/v3/contenttype/forms"/>
  </ds:schemaRefs>
</ds:datastoreItem>
</file>

<file path=customXml/itemProps2.xml><?xml version="1.0" encoding="utf-8"?>
<ds:datastoreItem xmlns:ds="http://schemas.openxmlformats.org/officeDocument/2006/customXml" ds:itemID="{4B5CF092-BC1D-4376-B6C4-CFCD2F92756E}">
  <ds:schemaRefs>
    <ds:schemaRef ds:uri="http://purl.org/dc/elements/1.1/"/>
    <ds:schemaRef ds:uri="http://purl.org/dc/terms/"/>
    <ds:schemaRef ds:uri="http://schemas.microsoft.com/office/2006/documentManagement/types"/>
    <ds:schemaRef ds:uri="http://schemas.microsoft.com/office/2006/metadata/properties"/>
    <ds:schemaRef ds:uri="655bbda8-32d5-4c1a-a1fa-5cab6faa4b30"/>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395A1E2-B83B-4BA6-801E-BC272FD30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5bbda8-32d5-4c1a-a1fa-5cab6faa4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786</TotalTime>
  <Words>400</Words>
  <Application>Microsoft Office PowerPoint</Application>
  <PresentationFormat>Widescreen</PresentationFormat>
  <Paragraphs>32</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Verdana</vt:lpstr>
      <vt:lpstr>Wingdings</vt:lpstr>
      <vt:lpstr>2_Deloitte_UK_Onscreen</vt:lpstr>
      <vt:lpstr>think-cell Slide</vt:lpstr>
      <vt:lpstr> Nikita Deepak Poyrekar  Senior Consultant, Deloitte Ind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yrekar, Nikita</dc:creator>
  <cp:lastModifiedBy>Poyrekar, Nikita</cp:lastModifiedBy>
  <cp:revision>733</cp:revision>
  <dcterms:modified xsi:type="dcterms:W3CDTF">2023-07-02T14:2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6-05-12T18:47:00.1929907</vt:lpwstr>
  </property>
  <property fmtid="{D5CDD505-2E9C-101B-9397-08002B2CF9AE}" pid="3" name="CustomerId">
    <vt:lpwstr>deloitteindia</vt:lpwstr>
  </property>
  <property fmtid="{D5CDD505-2E9C-101B-9397-08002B2CF9AE}" pid="4" name="TemplateId">
    <vt:lpwstr>635986756201929906</vt:lpwstr>
  </property>
  <property fmtid="{D5CDD505-2E9C-101B-9397-08002B2CF9AE}" pid="5" name="UserProfileId">
    <vt:lpwstr>636373340031713043</vt:lpwstr>
  </property>
  <property fmtid="{D5CDD505-2E9C-101B-9397-08002B2CF9AE}" pid="6" name="ContentTypeId">
    <vt:lpwstr>0x010100711CBD6CE8BEBF47BB644B79398C098D</vt:lpwstr>
  </property>
  <property fmtid="{D5CDD505-2E9C-101B-9397-08002B2CF9AE}" pid="7" name="MSIP_Label_ea60d57e-af5b-4752-ac57-3e4f28ca11dc_Enabled">
    <vt:lpwstr>true</vt:lpwstr>
  </property>
  <property fmtid="{D5CDD505-2E9C-101B-9397-08002B2CF9AE}" pid="8" name="MSIP_Label_ea60d57e-af5b-4752-ac57-3e4f28ca11dc_SetDate">
    <vt:lpwstr>2021-10-06T03:51:00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c6bb82f5-e7f1-47c5-ac7b-c7e35d76ab84</vt:lpwstr>
  </property>
  <property fmtid="{D5CDD505-2E9C-101B-9397-08002B2CF9AE}" pid="13" name="MSIP_Label_ea60d57e-af5b-4752-ac57-3e4f28ca11dc_ContentBits">
    <vt:lpwstr>0</vt:lpwstr>
  </property>
</Properties>
</file>